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tags/tag6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8.xml" ContentType="application/vnd.openxmlformats-officedocument.theme+xml"/>
  <Override PartName="/ppt/tags/tag7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9.xml" ContentType="application/vnd.openxmlformats-officedocument.theme+xml"/>
  <Override PartName="/ppt/tags/tag8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0.xml" ContentType="application/vnd.openxmlformats-officedocument.theme+xml"/>
  <Override PartName="/ppt/tags/tag9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11.xml" ContentType="application/vnd.openxmlformats-officedocument.theme+xml"/>
  <Override PartName="/ppt/tags/tag10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12.xml" ContentType="application/vnd.openxmlformats-officedocument.theme+xml"/>
  <Override PartName="/ppt/tags/tag11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13.xml" ContentType="application/vnd.openxmlformats-officedocument.theme+xml"/>
  <Override PartName="/ppt/tags/tag12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14.xml" ContentType="application/vnd.openxmlformats-officedocument.theme+xml"/>
  <Override PartName="/ppt/tags/tag13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5.xml" ContentType="application/vnd.openxmlformats-officedocument.theme+xml"/>
  <Override PartName="/ppt/tags/tag14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6.xml" ContentType="application/vnd.openxmlformats-officedocument.theme+xml"/>
  <Override PartName="/ppt/tags/tag15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7.xml" ContentType="application/vnd.openxmlformats-officedocument.theme+xml"/>
  <Override PartName="/ppt/tags/tag16.xml" ContentType="application/vnd.openxmlformats-officedocument.presentationml.tags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18.xml" ContentType="application/vnd.openxmlformats-officedocument.theme+xml"/>
  <Override PartName="/ppt/tags/tag17.xml" ContentType="application/vnd.openxmlformats-officedocument.presentationml.tags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19.xml" ContentType="application/vnd.openxmlformats-officedocument.theme+xml"/>
  <Override PartName="/ppt/tags/tag18.xml" ContentType="application/vnd.openxmlformats-officedocument.presentationml.tags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20.xml" ContentType="application/vnd.openxmlformats-officedocument.theme+xml"/>
  <Override PartName="/ppt/tags/tag19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21.xml" ContentType="application/vnd.openxmlformats-officedocument.theme+xml"/>
  <Override PartName="/ppt/tags/tag20.xml" ContentType="application/vnd.openxmlformats-officedocument.presentationml.tags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22.xml" ContentType="application/vnd.openxmlformats-officedocument.theme+xml"/>
  <Override PartName="/ppt/tags/tag21.xml" ContentType="application/vnd.openxmlformats-officedocument.presentationml.tags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23.xml" ContentType="application/vnd.openxmlformats-officedocument.theme+xml"/>
  <Override PartName="/ppt/tags/tag22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24.xml" ContentType="application/vnd.openxmlformats-officedocument.theme+xml"/>
  <Override PartName="/ppt/tags/tag23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25.xml" ContentType="application/vnd.openxmlformats-officedocument.theme+xml"/>
  <Override PartName="/ppt/tags/tag24.xml" ContentType="application/vnd.openxmlformats-officedocument.presentationml.tags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heme/theme26.xml" ContentType="application/vnd.openxmlformats-officedocument.theme+xml"/>
  <Override PartName="/ppt/tags/tag25.xml" ContentType="application/vnd.openxmlformats-officedocument.presentationml.tags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27.xml" ContentType="application/vnd.openxmlformats-officedocument.theme+xml"/>
  <Override PartName="/ppt/tags/tag26.xml" ContentType="application/vnd.openxmlformats-officedocument.presentationml.tags+xml"/>
  <Override PartName="/ppt/theme/theme28.xml" ContentType="application/vnd.openxmlformats-officedocument.theme+xml"/>
  <Override PartName="/ppt/theme/theme2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4">
  <p:sldMasterIdLst>
    <p:sldMasterId id="2147483714" r:id="rId1"/>
    <p:sldMasterId id="2147483723" r:id="rId2"/>
    <p:sldMasterId id="2147483983" r:id="rId3"/>
    <p:sldMasterId id="2147483732" r:id="rId4"/>
    <p:sldMasterId id="2147483741" r:id="rId5"/>
    <p:sldMasterId id="2147483750" r:id="rId6"/>
    <p:sldMasterId id="2147483758" r:id="rId7"/>
    <p:sldMasterId id="2147483767" r:id="rId8"/>
    <p:sldMasterId id="2147483775" r:id="rId9"/>
    <p:sldMasterId id="2147483783" r:id="rId10"/>
    <p:sldMasterId id="2147483792" r:id="rId11"/>
    <p:sldMasterId id="2147483800" r:id="rId12"/>
    <p:sldMasterId id="2147483809" r:id="rId13"/>
    <p:sldMasterId id="2147483819" r:id="rId14"/>
    <p:sldMasterId id="2147483829" r:id="rId15"/>
    <p:sldMasterId id="2147483845" r:id="rId16"/>
    <p:sldMasterId id="2147483856" r:id="rId17"/>
    <p:sldMasterId id="2147483867" r:id="rId18"/>
    <p:sldMasterId id="2147483878" r:id="rId19"/>
    <p:sldMasterId id="2147483889" r:id="rId20"/>
    <p:sldMasterId id="2147483900" r:id="rId21"/>
    <p:sldMasterId id="2147483909" r:id="rId22"/>
    <p:sldMasterId id="2147483929" r:id="rId23"/>
    <p:sldMasterId id="2147483940" r:id="rId24"/>
    <p:sldMasterId id="2147483951" r:id="rId25"/>
    <p:sldMasterId id="2147483971" r:id="rId26"/>
    <p:sldMasterId id="2147483995" r:id="rId27"/>
  </p:sldMasterIdLst>
  <p:notesMasterIdLst>
    <p:notesMasterId r:id="rId44"/>
  </p:notesMasterIdLst>
  <p:handoutMasterIdLst>
    <p:handoutMasterId r:id="rId45"/>
  </p:handoutMasterIdLst>
  <p:sldIdLst>
    <p:sldId id="783" r:id="rId28"/>
    <p:sldId id="921" r:id="rId29"/>
    <p:sldId id="941" r:id="rId30"/>
    <p:sldId id="935" r:id="rId31"/>
    <p:sldId id="938" r:id="rId32"/>
    <p:sldId id="942" r:id="rId33"/>
    <p:sldId id="933" r:id="rId34"/>
    <p:sldId id="930" r:id="rId35"/>
    <p:sldId id="934" r:id="rId36"/>
    <p:sldId id="940" r:id="rId37"/>
    <p:sldId id="932" r:id="rId38"/>
    <p:sldId id="937" r:id="rId39"/>
    <p:sldId id="931" r:id="rId40"/>
    <p:sldId id="939" r:id="rId41"/>
    <p:sldId id="943" r:id="rId42"/>
    <p:sldId id="927" r:id="rId43"/>
  </p:sldIdLst>
  <p:sldSz cx="9144000" cy="6858000" type="screen4x3"/>
  <p:notesSz cx="9928225" cy="6797675"/>
  <p:custDataLst>
    <p:tags r:id="rId46"/>
  </p:custDataLst>
  <p:defaultTextStyle>
    <a:defPPr>
      <a:defRPr lang="ru-RU"/>
    </a:defPPr>
    <a:lvl1pPr marL="0" algn="l" defTabSz="91280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402" algn="l" defTabSz="91280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2804" algn="l" defTabSz="91280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9204" algn="l" defTabSz="91280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5607" algn="l" defTabSz="91280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2007" algn="l" defTabSz="91280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8402" algn="l" defTabSz="91280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4811" algn="l" defTabSz="91280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1212" algn="l" defTabSz="91280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68942B99-B9CB-4888-A8DD-2915C4CBB82D}">
          <p14:sldIdLst>
            <p14:sldId id="783"/>
            <p14:sldId id="921"/>
            <p14:sldId id="941"/>
            <p14:sldId id="935"/>
            <p14:sldId id="938"/>
            <p14:sldId id="942"/>
            <p14:sldId id="933"/>
            <p14:sldId id="930"/>
            <p14:sldId id="934"/>
            <p14:sldId id="940"/>
            <p14:sldId id="932"/>
            <p14:sldId id="937"/>
            <p14:sldId id="931"/>
            <p14:sldId id="939"/>
            <p14:sldId id="943"/>
            <p14:sldId id="927"/>
          </p14:sldIdLst>
        </p14:section>
      </p14:sectionLst>
    </p:ext>
    <p:ext uri="{EFAFB233-063F-42B5-8137-9DF3F51BA10A}">
      <p15:sldGuideLst xmlns:p15="http://schemas.microsoft.com/office/powerpoint/2012/main">
        <p15:guide id="2" pos="288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>
          <p15:clr>
            <a:srgbClr val="A4A3A4"/>
          </p15:clr>
        </p15:guide>
        <p15:guide id="2" pos="3127">
          <p15:clr>
            <a:srgbClr val="A4A3A4"/>
          </p15:clr>
        </p15:guide>
        <p15:guide id="3" pos="312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7EC2"/>
    <a:srgbClr val="2685CC"/>
    <a:srgbClr val="DAA600"/>
    <a:srgbClr val="9148C8"/>
    <a:srgbClr val="FCA0FE"/>
    <a:srgbClr val="016EB3"/>
    <a:srgbClr val="000066"/>
    <a:srgbClr val="CCFFFF"/>
    <a:srgbClr val="66FFFF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160" autoAdjust="0"/>
    <p:restoredTop sz="93242" autoAdjust="0"/>
  </p:normalViewPr>
  <p:slideViewPr>
    <p:cSldViewPr>
      <p:cViewPr varScale="1">
        <p:scale>
          <a:sx n="105" d="100"/>
          <a:sy n="105" d="100"/>
        </p:scale>
        <p:origin x="1398" y="114"/>
      </p:cViewPr>
      <p:guideLst>
        <p:guide pos="288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80" d="100"/>
          <a:sy n="80" d="100"/>
        </p:scale>
        <p:origin x="-2059" y="-221"/>
      </p:cViewPr>
      <p:guideLst>
        <p:guide orient="horz" pos="2141"/>
        <p:guide pos="3127"/>
        <p:guide pos="312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12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7.xml"/><Relationship Id="rId42" Type="http://schemas.openxmlformats.org/officeDocument/2006/relationships/slide" Target="slides/slide15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2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5.xml"/><Relationship Id="rId37" Type="http://schemas.openxmlformats.org/officeDocument/2006/relationships/slide" Target="slides/slide10.xml"/><Relationship Id="rId40" Type="http://schemas.openxmlformats.org/officeDocument/2006/relationships/slide" Target="slides/slide13.xml"/><Relationship Id="rId45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1.xml"/><Relationship Id="rId36" Type="http://schemas.openxmlformats.org/officeDocument/2006/relationships/slide" Target="slides/slide9.xml"/><Relationship Id="rId49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4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" Target="slides/slide3.xml"/><Relationship Id="rId35" Type="http://schemas.openxmlformats.org/officeDocument/2006/relationships/slide" Target="slides/slide8.xml"/><Relationship Id="rId43" Type="http://schemas.openxmlformats.org/officeDocument/2006/relationships/slide" Target="slides/slide16.xml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6.xml"/><Relationship Id="rId38" Type="http://schemas.openxmlformats.org/officeDocument/2006/relationships/slide" Target="slides/slide11.xml"/><Relationship Id="rId46" Type="http://schemas.openxmlformats.org/officeDocument/2006/relationships/tags" Target="tags/tag1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2813" cy="339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3824" y="1"/>
            <a:ext cx="4302813" cy="339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BB76B3-575F-4424-8194-DA05BA2A9DEA}" type="datetimeFigureOut">
              <a:rPr lang="ru-RU" smtClean="0"/>
              <a:pPr/>
              <a:t>11.04.2018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6456364"/>
            <a:ext cx="4302813" cy="339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54039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2231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3699" y="0"/>
            <a:ext cx="4302231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35AFE9-CBF1-4B1B-9C3B-FE07954C2397}" type="datetimeFigureOut">
              <a:rPr lang="ru-RU" smtClean="0"/>
              <a:pPr/>
              <a:t>11.04.2018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11138" y="519113"/>
            <a:ext cx="5184775" cy="3887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5612288" y="518517"/>
            <a:ext cx="4249151" cy="57606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6456611"/>
            <a:ext cx="4302231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3699" y="6567189"/>
            <a:ext cx="4302231" cy="2293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2AB1AE-D738-4E6B-B846-D79B9A7E7F1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8065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28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402" algn="l" defTabSz="9128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804" algn="l" defTabSz="9128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9204" algn="l" defTabSz="9128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5607" algn="l" defTabSz="9128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2007" algn="l" defTabSz="9128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8402" algn="l" defTabSz="9128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4811" algn="l" defTabSz="9128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1212" algn="l" defTabSz="91280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11138" y="519113"/>
            <a:ext cx="5184775" cy="38877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err="1" smtClean="0"/>
              <a:t>Доклад_титул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AB1AE-D738-4E6B-B846-D79B9A7E7F16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63276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11138" y="519113"/>
            <a:ext cx="5184775" cy="38877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оверено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AB1AE-D738-4E6B-B846-D79B9A7E7F16}" type="slidenum">
              <a:rPr lang="ru-RU" smtClean="0"/>
              <a:pPr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545915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11138" y="519113"/>
            <a:ext cx="5184775" cy="38877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оверено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AB1AE-D738-4E6B-B846-D79B9A7E7F16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6415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11138" y="519113"/>
            <a:ext cx="5184775" cy="38877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оверено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AB1AE-D738-4E6B-B846-D79B9A7E7F16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49070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11138" y="519113"/>
            <a:ext cx="5184775" cy="38877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оверено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AB1AE-D738-4E6B-B846-D79B9A7E7F16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9724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11138" y="519113"/>
            <a:ext cx="5184775" cy="38877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оверено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AB1AE-D738-4E6B-B846-D79B9A7E7F16}" type="slidenum">
              <a:rPr lang="ru-RU" smtClean="0"/>
              <a:pPr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26193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11138" y="519113"/>
            <a:ext cx="5184775" cy="38877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оверено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AB1AE-D738-4E6B-B846-D79B9A7E7F16}" type="slidenum">
              <a:rPr lang="ru-RU" smtClean="0"/>
              <a:pPr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16452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11138" y="519113"/>
            <a:ext cx="5184775" cy="38877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оверено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AB1AE-D738-4E6B-B846-D79B9A7E7F16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80266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11138" y="519113"/>
            <a:ext cx="5184775" cy="38877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оверено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AB1AE-D738-4E6B-B846-D79B9A7E7F16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050100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11138" y="519113"/>
            <a:ext cx="5184775" cy="38877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оверено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AB1AE-D738-4E6B-B846-D79B9A7E7F16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38808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11138" y="519113"/>
            <a:ext cx="5184775" cy="38877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оверено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AB1AE-D738-4E6B-B846-D79B9A7E7F16}" type="slidenum">
              <a:rPr lang="ru-RU" smtClean="0"/>
              <a:pPr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38401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11138" y="519113"/>
            <a:ext cx="5184775" cy="38877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оверено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AB1AE-D738-4E6B-B846-D79B9A7E7F16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48712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11138" y="519113"/>
            <a:ext cx="5184775" cy="38877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оверено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AB1AE-D738-4E6B-B846-D79B9A7E7F16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79295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11138" y="519113"/>
            <a:ext cx="5184775" cy="38877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оверено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AB1AE-D738-4E6B-B846-D79B9A7E7F16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24509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11138" y="519113"/>
            <a:ext cx="5184775" cy="38877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оверено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AB1AE-D738-4E6B-B846-D79B9A7E7F16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537951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7.png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7.png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6.xml"/></Relationships>
</file>

<file path=ppt/slideLayouts/_rels/slideLayout1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7.png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7.png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7.png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7.png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0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7.png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5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2.xml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3.xml"/><Relationship Id="rId4" Type="http://schemas.openxmlformats.org/officeDocument/2006/relationships/image" Target="../media/image7.png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3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4.xml"/><Relationship Id="rId4" Type="http://schemas.openxmlformats.org/officeDocument/2006/relationships/image" Target="../media/image7.png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5.xml"/><Relationship Id="rId4" Type="http://schemas.openxmlformats.org/officeDocument/2006/relationships/image" Target="../media/image7.png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6.xml"/><Relationship Id="rId4" Type="http://schemas.openxmlformats.org/officeDocument/2006/relationships/image" Target="../media/image7.png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pn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.pn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pn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7.pn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7.png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7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7.png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7.png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741907" y="6517641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4331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6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77582692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6" y="5737227"/>
            <a:ext cx="5522912" cy="20313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615554">
              <a:spcBef>
                <a:spcPct val="0"/>
              </a:spcBef>
              <a:buClrTx/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90" y="5183190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b"/>
          <a:lstStyle>
            <a:lvl1pPr algn="r" defTabSz="615554"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0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2992620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5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275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345104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6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58050739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1" y="190500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71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>
                <a:solidFill>
                  <a:schemeClr val="tx2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Телефон и </a:t>
            </a:r>
            <a:r>
              <a:rPr lang="en-US" dirty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16EB3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Спасибо! / </a:t>
            </a:r>
            <a:r>
              <a:rPr lang="en-US" dirty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Адрес компан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Управление и Отдел</a:t>
            </a:r>
          </a:p>
        </p:txBody>
      </p:sp>
    </p:spTree>
    <p:extLst>
      <p:ext uri="{BB962C8B-B14F-4D97-AF65-F5344CB8AC3E}">
        <p14:creationId xmlns:p14="http://schemas.microsoft.com/office/powerpoint/2010/main" val="148102175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306677"/>
            <a:ext cx="6742113" cy="739775"/>
          </a:xfrm>
          <a:prstGeom prst="rect">
            <a:avLst/>
          </a:prstGeom>
        </p:spPr>
        <p:txBody>
          <a:bodyPr/>
          <a:lstStyle>
            <a:lvl1pPr>
              <a:defRPr sz="1875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54365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123827"/>
            <a:ext cx="6742113" cy="6572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072164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8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72439560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200" y="1638000"/>
            <a:ext cx="81504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81891" y="6519691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54001" y="285751"/>
            <a:ext cx="8613774" cy="611413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9297666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6" y="5737227"/>
            <a:ext cx="5522912" cy="20313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615554">
              <a:spcBef>
                <a:spcPct val="0"/>
              </a:spcBef>
              <a:buClrTx/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90" y="5183190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b"/>
          <a:lstStyle>
            <a:lvl1pPr algn="r" defTabSz="615554"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0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2160648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5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275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138141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1" y="190500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71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>
                <a:solidFill>
                  <a:schemeClr val="tx2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Телефон и </a:t>
            </a:r>
            <a:r>
              <a:rPr lang="en-US" dirty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16EB3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Спасибо! / </a:t>
            </a:r>
            <a:r>
              <a:rPr lang="en-US" dirty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Адрес компан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Управление и Отдел</a:t>
            </a:r>
          </a:p>
        </p:txBody>
      </p:sp>
    </p:spTree>
    <p:extLst>
      <p:ext uri="{BB962C8B-B14F-4D97-AF65-F5344CB8AC3E}">
        <p14:creationId xmlns:p14="http://schemas.microsoft.com/office/powerpoint/2010/main" val="152392041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6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44777474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1" y="190500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71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>
                <a:solidFill>
                  <a:schemeClr val="tx2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Телефон и </a:t>
            </a:r>
            <a:r>
              <a:rPr lang="en-US" dirty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16EB3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Спасибо! / </a:t>
            </a:r>
            <a:r>
              <a:rPr lang="en-US" dirty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Адрес компан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Управление и Отдел</a:t>
            </a:r>
          </a:p>
        </p:txBody>
      </p:sp>
    </p:spTree>
    <p:extLst>
      <p:ext uri="{BB962C8B-B14F-4D97-AF65-F5344CB8AC3E}">
        <p14:creationId xmlns:p14="http://schemas.microsoft.com/office/powerpoint/2010/main" val="301191028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306677"/>
            <a:ext cx="6742113" cy="739775"/>
          </a:xfrm>
          <a:prstGeom prst="rect">
            <a:avLst/>
          </a:prstGeom>
        </p:spPr>
        <p:txBody>
          <a:bodyPr/>
          <a:lstStyle>
            <a:lvl1pPr>
              <a:defRPr sz="1875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876644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123827"/>
            <a:ext cx="6742113" cy="6572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51796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8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4475402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азделитель_2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885269" y="2336804"/>
            <a:ext cx="3801533" cy="83039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17" b="0">
                <a:solidFill>
                  <a:srgbClr val="088CDE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885267" y="3450858"/>
            <a:ext cx="3801533" cy="57081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sz="2060" cap="none" baseline="0">
                <a:solidFill>
                  <a:srgbClr val="088CDE"/>
                </a:solidFill>
                <a:latin typeface="Futura New Medium Obl"/>
                <a:cs typeface="Futura New Medium Obl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96101647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6" y="5737227"/>
            <a:ext cx="5522912" cy="20313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615554">
              <a:spcBef>
                <a:spcPct val="0"/>
              </a:spcBef>
              <a:buClrTx/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90" y="5183190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b"/>
          <a:lstStyle>
            <a:lvl1pPr algn="r" defTabSz="615554"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0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1227241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5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275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198588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6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67822812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1" y="190500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71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>
                <a:solidFill>
                  <a:schemeClr val="tx2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Телефон и </a:t>
            </a:r>
            <a:r>
              <a:rPr lang="en-US" dirty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16EB3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Спасибо! / </a:t>
            </a:r>
            <a:r>
              <a:rPr lang="en-US" dirty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Адрес компан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Управление и Отдел</a:t>
            </a:r>
          </a:p>
        </p:txBody>
      </p:sp>
    </p:spTree>
    <p:extLst>
      <p:ext uri="{BB962C8B-B14F-4D97-AF65-F5344CB8AC3E}">
        <p14:creationId xmlns:p14="http://schemas.microsoft.com/office/powerpoint/2010/main" val="18470913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306677"/>
            <a:ext cx="6742113" cy="739775"/>
          </a:xfrm>
          <a:prstGeom prst="rect">
            <a:avLst/>
          </a:prstGeom>
        </p:spPr>
        <p:txBody>
          <a:bodyPr/>
          <a:lstStyle>
            <a:lvl1pPr>
              <a:defRPr sz="1875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55975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306677"/>
            <a:ext cx="6742113" cy="739775"/>
          </a:xfrm>
          <a:prstGeom prst="rect">
            <a:avLst/>
          </a:prstGeom>
        </p:spPr>
        <p:txBody>
          <a:bodyPr/>
          <a:lstStyle>
            <a:lvl1pPr>
              <a:defRPr sz="1875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69196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123827"/>
            <a:ext cx="6742113" cy="6572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332286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8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8393852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азделитель_2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885269" y="2336804"/>
            <a:ext cx="3801533" cy="83039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17" b="0">
                <a:solidFill>
                  <a:srgbClr val="088CDE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885267" y="3450858"/>
            <a:ext cx="3801533" cy="57081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sz="2060" cap="none" baseline="0">
                <a:solidFill>
                  <a:srgbClr val="088CDE"/>
                </a:solidFill>
                <a:latin typeface="Futura New Medium Obl"/>
                <a:cs typeface="Futura New Medium Obl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139964615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200" y="1638000"/>
            <a:ext cx="81504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81891" y="6519691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54001" y="285751"/>
            <a:ext cx="8613774" cy="611413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2296801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6" y="5737227"/>
            <a:ext cx="5522912" cy="20313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615554">
              <a:spcBef>
                <a:spcPct val="0"/>
              </a:spcBef>
              <a:buClrTx/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90" y="5183190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b"/>
          <a:lstStyle>
            <a:lvl1pPr algn="r" defTabSz="615554"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0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1419796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5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275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6473105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6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80565723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1" y="190500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71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>
                <a:solidFill>
                  <a:schemeClr val="tx2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Телефон и </a:t>
            </a:r>
            <a:r>
              <a:rPr lang="en-US" dirty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16EB3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Спасибо! / </a:t>
            </a:r>
            <a:r>
              <a:rPr lang="en-US" dirty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Адрес компан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Управление и Отдел</a:t>
            </a:r>
          </a:p>
        </p:txBody>
      </p:sp>
    </p:spTree>
    <p:extLst>
      <p:ext uri="{BB962C8B-B14F-4D97-AF65-F5344CB8AC3E}">
        <p14:creationId xmlns:p14="http://schemas.microsoft.com/office/powerpoint/2010/main" val="172991085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306677"/>
            <a:ext cx="6742113" cy="739775"/>
          </a:xfrm>
          <a:prstGeom prst="rect">
            <a:avLst/>
          </a:prstGeom>
        </p:spPr>
        <p:txBody>
          <a:bodyPr/>
          <a:lstStyle>
            <a:lvl1pPr>
              <a:defRPr sz="1875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339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123827"/>
            <a:ext cx="6742113" cy="6572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230813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123827"/>
            <a:ext cx="6742113" cy="6572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975351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8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2085951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азделитель_2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885269" y="2336804"/>
            <a:ext cx="3801533" cy="83039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17" b="0">
                <a:solidFill>
                  <a:srgbClr val="088CDE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885267" y="3450858"/>
            <a:ext cx="3801533" cy="57081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sz="2060" cap="none" baseline="0">
                <a:solidFill>
                  <a:srgbClr val="088CDE"/>
                </a:solidFill>
                <a:latin typeface="Futura New Medium Obl"/>
                <a:cs typeface="Futura New Medium Obl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250184622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200" y="1638000"/>
            <a:ext cx="81504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81891" y="6519691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54001" y="285751"/>
            <a:ext cx="8613774" cy="611413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4624137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6" y="5737227"/>
            <a:ext cx="5522912" cy="20313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615554">
              <a:spcBef>
                <a:spcPct val="0"/>
              </a:spcBef>
              <a:buClrTx/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90" y="5183190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b"/>
          <a:lstStyle>
            <a:lvl1pPr algn="r" defTabSz="615554"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0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246598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5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275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1051674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6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424494057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1" y="190500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71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>
                <a:solidFill>
                  <a:schemeClr val="tx2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Телефон и </a:t>
            </a:r>
            <a:r>
              <a:rPr lang="en-US" dirty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16EB3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Спасибо! / </a:t>
            </a:r>
            <a:r>
              <a:rPr lang="en-US" dirty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Адрес компан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Управление и Отдел</a:t>
            </a:r>
          </a:p>
        </p:txBody>
      </p:sp>
    </p:spTree>
    <p:extLst>
      <p:ext uri="{BB962C8B-B14F-4D97-AF65-F5344CB8AC3E}">
        <p14:creationId xmlns:p14="http://schemas.microsoft.com/office/powerpoint/2010/main" val="31348533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306677"/>
            <a:ext cx="6742113" cy="739775"/>
          </a:xfrm>
          <a:prstGeom prst="rect">
            <a:avLst/>
          </a:prstGeom>
        </p:spPr>
        <p:txBody>
          <a:bodyPr/>
          <a:lstStyle>
            <a:lvl1pPr>
              <a:defRPr sz="1875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38899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123827"/>
            <a:ext cx="6742113" cy="6572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2162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8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4185643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8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12469007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азделитель_2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885269" y="2336804"/>
            <a:ext cx="3801533" cy="83039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17" b="0">
                <a:solidFill>
                  <a:srgbClr val="088CDE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885267" y="3450858"/>
            <a:ext cx="3801533" cy="57081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sz="2060" cap="none" baseline="0">
                <a:solidFill>
                  <a:srgbClr val="088CDE"/>
                </a:solidFill>
                <a:latin typeface="Futura New Medium Obl"/>
                <a:cs typeface="Futura New Medium Obl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165469577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200" y="1638000"/>
            <a:ext cx="81504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81891" y="6519691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54001" y="285751"/>
            <a:ext cx="8613774" cy="611413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07868818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6" y="5737227"/>
            <a:ext cx="5522912" cy="20313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615554">
              <a:spcBef>
                <a:spcPct val="0"/>
              </a:spcBef>
              <a:buClrTx/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90" y="5183190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b"/>
          <a:lstStyle>
            <a:lvl1pPr algn="r" defTabSz="615554"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0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098945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5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275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833361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6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8831213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1" y="190500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71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>
                <a:solidFill>
                  <a:schemeClr val="tx2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Телефон и </a:t>
            </a:r>
            <a:r>
              <a:rPr lang="en-US" dirty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16EB3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Спасибо! / </a:t>
            </a:r>
            <a:r>
              <a:rPr lang="en-US" dirty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Адрес компан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Управление и Отдел</a:t>
            </a:r>
          </a:p>
        </p:txBody>
      </p:sp>
    </p:spTree>
    <p:extLst>
      <p:ext uri="{BB962C8B-B14F-4D97-AF65-F5344CB8AC3E}">
        <p14:creationId xmlns:p14="http://schemas.microsoft.com/office/powerpoint/2010/main" val="394935935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306677"/>
            <a:ext cx="6742113" cy="739775"/>
          </a:xfrm>
          <a:prstGeom prst="rect">
            <a:avLst/>
          </a:prstGeom>
        </p:spPr>
        <p:txBody>
          <a:bodyPr/>
          <a:lstStyle>
            <a:lvl1pPr>
              <a:defRPr sz="1875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2629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123827"/>
            <a:ext cx="6742113" cy="6572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837492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8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1806785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C685D-3815-4639-A036-18ED3D66B864}" type="datetimeFigureOut">
              <a:rPr lang="ru-RU" smtClean="0"/>
              <a:t>11.04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72390-328C-4818-ABE9-70A589662AB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516073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азделитель_2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885269" y="2336804"/>
            <a:ext cx="3801533" cy="83039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17" b="0">
                <a:solidFill>
                  <a:srgbClr val="088CDE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885267" y="3450858"/>
            <a:ext cx="3801533" cy="57081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sz="2060" cap="none" baseline="0">
                <a:solidFill>
                  <a:srgbClr val="088CDE"/>
                </a:solidFill>
                <a:latin typeface="Futura New Medium Obl"/>
                <a:cs typeface="Futura New Medium Obl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2923570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200" y="1638000"/>
            <a:ext cx="81504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81891" y="6519691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54001" y="285751"/>
            <a:ext cx="8613774" cy="611413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19951650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6" y="5737227"/>
            <a:ext cx="5522912" cy="20313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615554">
              <a:spcBef>
                <a:spcPct val="0"/>
              </a:spcBef>
              <a:buClrTx/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90" y="5183190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b"/>
          <a:lstStyle>
            <a:lvl1pPr algn="r" defTabSz="615554"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0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254468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5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275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2406672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6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67103540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1" y="190500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71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>
                <a:solidFill>
                  <a:schemeClr val="tx2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Телефон и </a:t>
            </a:r>
            <a:r>
              <a:rPr lang="en-US" dirty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16EB3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Спасибо! / </a:t>
            </a:r>
            <a:r>
              <a:rPr lang="en-US" dirty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Адрес компан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Управление и Отдел</a:t>
            </a:r>
          </a:p>
        </p:txBody>
      </p:sp>
    </p:spTree>
    <p:extLst>
      <p:ext uri="{BB962C8B-B14F-4D97-AF65-F5344CB8AC3E}">
        <p14:creationId xmlns:p14="http://schemas.microsoft.com/office/powerpoint/2010/main" val="364714974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306677"/>
            <a:ext cx="6742113" cy="739775"/>
          </a:xfrm>
          <a:prstGeom prst="rect">
            <a:avLst/>
          </a:prstGeom>
        </p:spPr>
        <p:txBody>
          <a:bodyPr/>
          <a:lstStyle>
            <a:lvl1pPr>
              <a:defRPr sz="1875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967603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123827"/>
            <a:ext cx="6742113" cy="6572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249799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8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06295216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6" y="5737227"/>
            <a:ext cx="5522912" cy="20313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615554">
              <a:spcBef>
                <a:spcPct val="0"/>
              </a:spcBef>
              <a:buClrTx/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90" y="5183190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b"/>
          <a:lstStyle>
            <a:lvl1pPr algn="r" defTabSz="615554"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0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11434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C685D-3815-4639-A036-18ED3D66B864}" type="datetimeFigureOut">
              <a:rPr lang="ru-RU" smtClean="0"/>
              <a:t>11.04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72390-328C-4818-ABE9-70A589662AB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744830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5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275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46823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6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97385229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1" y="190500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71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>
                <a:solidFill>
                  <a:schemeClr val="tx2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Телефон и </a:t>
            </a:r>
            <a:r>
              <a:rPr lang="en-US" dirty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16EB3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Спасибо! / </a:t>
            </a:r>
            <a:r>
              <a:rPr lang="en-US" dirty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Адрес компан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Управление и Отдел</a:t>
            </a:r>
          </a:p>
        </p:txBody>
      </p:sp>
    </p:spTree>
    <p:extLst>
      <p:ext uri="{BB962C8B-B14F-4D97-AF65-F5344CB8AC3E}">
        <p14:creationId xmlns:p14="http://schemas.microsoft.com/office/powerpoint/2010/main" val="289523401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306677"/>
            <a:ext cx="6742113" cy="739775"/>
          </a:xfrm>
          <a:prstGeom prst="rect">
            <a:avLst/>
          </a:prstGeom>
        </p:spPr>
        <p:txBody>
          <a:bodyPr/>
          <a:lstStyle>
            <a:lvl1pPr>
              <a:defRPr sz="1875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55755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123827"/>
            <a:ext cx="6742113" cy="6572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02463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8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6929416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азделитель_2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885269" y="2336804"/>
            <a:ext cx="3801533" cy="83039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17" b="0">
                <a:solidFill>
                  <a:srgbClr val="088CDE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885267" y="3450858"/>
            <a:ext cx="3801533" cy="57081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sz="2060" cap="none" baseline="0">
                <a:solidFill>
                  <a:srgbClr val="088CDE"/>
                </a:solidFill>
                <a:latin typeface="Futura New Medium Obl"/>
                <a:cs typeface="Futura New Medium Obl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154398444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200" y="1638000"/>
            <a:ext cx="81504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81891" y="6519691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54001" y="285751"/>
            <a:ext cx="8613774" cy="611413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536544267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6" y="5737227"/>
            <a:ext cx="5522912" cy="20313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615554">
              <a:spcBef>
                <a:spcPct val="0"/>
              </a:spcBef>
              <a:buClrTx/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90" y="5183190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b"/>
          <a:lstStyle>
            <a:lvl1pPr algn="r" defTabSz="615554"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0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18663435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5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275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85205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C685D-3815-4639-A036-18ED3D66B864}" type="datetimeFigureOut">
              <a:rPr lang="ru-RU" smtClean="0"/>
              <a:t>11.04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72390-328C-4818-ABE9-70A589662AB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120717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6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86786271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1" y="190500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71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>
                <a:solidFill>
                  <a:schemeClr val="tx2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Телефон и </a:t>
            </a:r>
            <a:r>
              <a:rPr lang="en-US" dirty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16EB3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Спасибо! / </a:t>
            </a:r>
            <a:r>
              <a:rPr lang="en-US" dirty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Адрес компан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Управление и Отдел</a:t>
            </a:r>
          </a:p>
        </p:txBody>
      </p:sp>
    </p:spTree>
    <p:extLst>
      <p:ext uri="{BB962C8B-B14F-4D97-AF65-F5344CB8AC3E}">
        <p14:creationId xmlns:p14="http://schemas.microsoft.com/office/powerpoint/2010/main" val="64943937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306677"/>
            <a:ext cx="6742113" cy="739775"/>
          </a:xfrm>
          <a:prstGeom prst="rect">
            <a:avLst/>
          </a:prstGeom>
        </p:spPr>
        <p:txBody>
          <a:bodyPr/>
          <a:lstStyle>
            <a:lvl1pPr>
              <a:defRPr sz="1875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985531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123827"/>
            <a:ext cx="6742113" cy="6572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713169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8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264935909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азделитель_2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885269" y="2336804"/>
            <a:ext cx="3801533" cy="83039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17" b="0">
                <a:solidFill>
                  <a:srgbClr val="088CDE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885267" y="3450858"/>
            <a:ext cx="3801533" cy="57081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sz="2060" cap="none" baseline="0">
                <a:solidFill>
                  <a:srgbClr val="088CDE"/>
                </a:solidFill>
                <a:latin typeface="Futura New Medium Obl"/>
                <a:cs typeface="Futura New Medium Obl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2907586977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200" y="1638000"/>
            <a:ext cx="81504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81891" y="6519691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54001" y="285751"/>
            <a:ext cx="8613774" cy="611413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091881215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6" y="5737227"/>
            <a:ext cx="5522912" cy="20313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615554">
              <a:spcBef>
                <a:spcPct val="0"/>
              </a:spcBef>
              <a:buClrTx/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90" y="5183190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b"/>
          <a:lstStyle>
            <a:lvl1pPr algn="r" defTabSz="615554"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0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5251944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5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275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015185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6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2270778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C685D-3815-4639-A036-18ED3D66B864}" type="datetimeFigureOut">
              <a:rPr lang="ru-RU" smtClean="0"/>
              <a:t>11.04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72390-328C-4818-ABE9-70A589662AB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934434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1" y="190500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71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>
                <a:solidFill>
                  <a:schemeClr val="tx2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Телефон и </a:t>
            </a:r>
            <a:r>
              <a:rPr lang="en-US" dirty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16EB3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Спасибо! / </a:t>
            </a:r>
            <a:r>
              <a:rPr lang="en-US" dirty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Адрес компан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Управление и Отдел</a:t>
            </a:r>
          </a:p>
        </p:txBody>
      </p:sp>
    </p:spTree>
    <p:extLst>
      <p:ext uri="{BB962C8B-B14F-4D97-AF65-F5344CB8AC3E}">
        <p14:creationId xmlns:p14="http://schemas.microsoft.com/office/powerpoint/2010/main" val="363151566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306677"/>
            <a:ext cx="6742113" cy="739775"/>
          </a:xfrm>
          <a:prstGeom prst="rect">
            <a:avLst/>
          </a:prstGeom>
        </p:spPr>
        <p:txBody>
          <a:bodyPr/>
          <a:lstStyle>
            <a:lvl1pPr>
              <a:defRPr sz="1875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57839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123827"/>
            <a:ext cx="6742113" cy="6572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763752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8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87137383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азделитель_2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885269" y="2336804"/>
            <a:ext cx="3801533" cy="83039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17" b="0">
                <a:solidFill>
                  <a:srgbClr val="088CDE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885267" y="3450858"/>
            <a:ext cx="3801533" cy="57081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sz="2060" cap="none" baseline="0">
                <a:solidFill>
                  <a:srgbClr val="088CDE"/>
                </a:solidFill>
                <a:latin typeface="Futura New Medium Obl"/>
                <a:cs typeface="Futura New Medium Obl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163096403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200" y="1638000"/>
            <a:ext cx="81504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81891" y="6519691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54001" y="285751"/>
            <a:ext cx="8613774" cy="611413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49192814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6" y="5737227"/>
            <a:ext cx="5522912" cy="20313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615554">
              <a:spcBef>
                <a:spcPct val="0"/>
              </a:spcBef>
              <a:buClrTx/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90" y="5183190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b"/>
          <a:lstStyle>
            <a:lvl1pPr algn="r" defTabSz="615554"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0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9101846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5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275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300869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6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48549048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1" y="190500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71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>
                <a:solidFill>
                  <a:schemeClr val="tx2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Телефон и </a:t>
            </a:r>
            <a:r>
              <a:rPr lang="en-US" dirty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16EB3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Спасибо! / </a:t>
            </a:r>
            <a:r>
              <a:rPr lang="en-US" dirty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Адрес компан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Управление и Отдел</a:t>
            </a:r>
          </a:p>
        </p:txBody>
      </p:sp>
    </p:spTree>
    <p:extLst>
      <p:ext uri="{BB962C8B-B14F-4D97-AF65-F5344CB8AC3E}">
        <p14:creationId xmlns:p14="http://schemas.microsoft.com/office/powerpoint/2010/main" val="16421862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C685D-3815-4639-A036-18ED3D66B864}" type="datetimeFigureOut">
              <a:rPr lang="ru-RU" smtClean="0"/>
              <a:t>11.04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72390-328C-4818-ABE9-70A589662AB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507004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306677"/>
            <a:ext cx="6742113" cy="739775"/>
          </a:xfrm>
          <a:prstGeom prst="rect">
            <a:avLst/>
          </a:prstGeom>
        </p:spPr>
        <p:txBody>
          <a:bodyPr/>
          <a:lstStyle>
            <a:lvl1pPr>
              <a:defRPr sz="1875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4227333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123827"/>
            <a:ext cx="6742113" cy="6572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768254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8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675567995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азделитель_2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885269" y="2336804"/>
            <a:ext cx="3801533" cy="83039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17" b="0">
                <a:solidFill>
                  <a:srgbClr val="088CDE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885267" y="3450858"/>
            <a:ext cx="3801533" cy="57081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sz="2060" cap="none" baseline="0">
                <a:solidFill>
                  <a:srgbClr val="088CDE"/>
                </a:solidFill>
                <a:latin typeface="Futura New Medium Obl"/>
                <a:cs typeface="Futura New Medium Obl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2378629104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200" y="1638000"/>
            <a:ext cx="81504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81891" y="6519691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54001" y="285751"/>
            <a:ext cx="8613774" cy="611413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04812558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6" y="5737227"/>
            <a:ext cx="5522912" cy="20313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615554">
              <a:spcBef>
                <a:spcPct val="0"/>
              </a:spcBef>
              <a:buClrTx/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90" y="5183190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b"/>
          <a:lstStyle>
            <a:lvl1pPr algn="r" defTabSz="615554"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0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5298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5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275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2951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6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858311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1" y="190500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71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>
                <a:solidFill>
                  <a:schemeClr val="tx2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Телефон и </a:t>
            </a:r>
            <a:r>
              <a:rPr lang="en-US" dirty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16EB3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Спасибо! / </a:t>
            </a:r>
            <a:r>
              <a:rPr lang="en-US" dirty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Адрес компан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Управление и Отдел</a:t>
            </a:r>
          </a:p>
        </p:txBody>
      </p:sp>
    </p:spTree>
    <p:extLst>
      <p:ext uri="{BB962C8B-B14F-4D97-AF65-F5344CB8AC3E}">
        <p14:creationId xmlns:p14="http://schemas.microsoft.com/office/powerpoint/2010/main" val="1296232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306677"/>
            <a:ext cx="6742113" cy="739775"/>
          </a:xfrm>
          <a:prstGeom prst="rect">
            <a:avLst/>
          </a:prstGeom>
        </p:spPr>
        <p:txBody>
          <a:bodyPr/>
          <a:lstStyle>
            <a:lvl1pPr>
              <a:defRPr sz="1875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9021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auto">
          <a:xfrm>
            <a:off x="8660606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115940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C685D-3815-4639-A036-18ED3D66B864}" type="datetimeFigureOut">
              <a:rPr lang="ru-RU" smtClean="0"/>
              <a:t>11.04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72390-328C-4818-ABE9-70A589662AB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5549356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123827"/>
            <a:ext cx="6742113" cy="6572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2595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аздел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741907" y="6517641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B19B0651-EE4F-4900-A07F-96A6BFA9D0F0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799901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8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05660870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5" y="5737225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20738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188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b"/>
          <a:lstStyle>
            <a:lvl1pPr algn="r" defTabSz="820738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09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0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2241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28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141AF1-466E-4D9F-B74C-45FFEB47CA1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280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20738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43300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6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2804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00294F"/>
              </a:solidFill>
              <a:effectLst/>
              <a:uLnTx/>
              <a:uFillTx/>
              <a:latin typeface="Tahoma" pitchFamily="34" charset="0"/>
              <a:ea typeface="PMingLiU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3645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marL="0" marR="0" lvl="0" indent="0" algn="l" defTabSz="912804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1000" b="0" i="0" u="none" strike="noStrike" kern="1200" cap="none" spc="0" normalizeH="0" baseline="0" noProof="0" dirty="0">
              <a:ln>
                <a:noFill/>
              </a:ln>
              <a:solidFill>
                <a:srgbClr val="002766"/>
              </a:solidFill>
              <a:effectLst/>
              <a:uLnTx/>
              <a:uFillTx/>
              <a:latin typeface="Tahoma" pitchFamily="34" charset="0"/>
              <a:ea typeface="PMingLiU" pitchFamily="18" charset="-120"/>
              <a:cs typeface="+mn-cs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00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2804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00294F"/>
              </a:solidFill>
              <a:effectLst/>
              <a:uLnTx/>
              <a:uFillTx/>
              <a:latin typeface="Tahoma" pitchFamily="34" charset="0"/>
              <a:ea typeface="PMingLiU" pitchFamily="18" charset="-120"/>
              <a:cs typeface="+mn-cs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2804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00294F"/>
              </a:solidFill>
              <a:effectLst/>
              <a:uLnTx/>
              <a:uFillTx/>
              <a:latin typeface="Tahoma" pitchFamily="34" charset="0"/>
              <a:ea typeface="PMingLiU" pitchFamily="18" charset="-120"/>
              <a:cs typeface="+mn-cs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0498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5" y="306675"/>
            <a:ext cx="6742113" cy="739775"/>
          </a:xfrm>
          <a:prstGeom prst="rect">
            <a:avLst/>
          </a:prstGeom>
        </p:spPr>
        <p:txBody>
          <a:bodyPr/>
          <a:lstStyle>
            <a:lvl1pPr>
              <a:defRPr sz="25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28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FF660B-5916-42E2-9D88-953A3CB16BD3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280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8205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28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141AF1-466E-4D9F-B74C-45FFEB47CA1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280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20738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27683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5" y="123825"/>
            <a:ext cx="6742113" cy="6572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28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15E4BD-578A-4F4A-9E92-1B4DB10B5101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A0A1A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280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A0A1A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1628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C685D-3815-4639-A036-18ED3D66B864}" type="datetimeFigureOut">
              <a:rPr lang="ru-RU" smtClean="0"/>
              <a:t>11.04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72390-328C-4818-ABE9-70A589662AB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7650820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28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141AF1-466E-4D9F-B74C-45FFEB47CA1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280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7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800" kern="1200">
                <a:solidFill>
                  <a:srgbClr val="016EB3"/>
                </a:solidFill>
              </a:defRPr>
            </a:lvl1pPr>
          </a:lstStyle>
          <a:p>
            <a:pPr lvl="0" defTabSz="820738"/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0788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C685D-3815-4639-A036-18ED3D66B864}" type="datetimeFigureOut">
              <a:rPr lang="ru-RU" smtClean="0"/>
              <a:t>11.04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72390-328C-4818-ABE9-70A589662AB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14697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C685D-3815-4639-A036-18ED3D66B864}" type="datetimeFigureOut">
              <a:rPr lang="ru-RU" smtClean="0"/>
              <a:t>11.04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72390-328C-4818-ABE9-70A589662AB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53369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C685D-3815-4639-A036-18ED3D66B864}" type="datetimeFigureOut">
              <a:rPr lang="ru-RU" smtClean="0"/>
              <a:t>11.04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72390-328C-4818-ABE9-70A589662AB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20764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C685D-3815-4639-A036-18ED3D66B864}" type="datetimeFigureOut">
              <a:rPr lang="ru-RU" smtClean="0"/>
              <a:t>11.04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72390-328C-4818-ABE9-70A589662AB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0175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6" y="5737227"/>
            <a:ext cx="5522912" cy="20313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615554">
              <a:spcBef>
                <a:spcPct val="0"/>
              </a:spcBef>
              <a:buClrTx/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90" y="5183190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b"/>
          <a:lstStyle>
            <a:lvl1pPr algn="r" defTabSz="615554"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0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81495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5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275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07574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6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7377581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1" y="190500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71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>
                <a:solidFill>
                  <a:schemeClr val="tx2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Телефон и </a:t>
            </a:r>
            <a:r>
              <a:rPr lang="en-US" dirty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16EB3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Спасибо! / </a:t>
            </a:r>
            <a:r>
              <a:rPr lang="en-US" dirty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Адрес компан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Управление и Отдел</a:t>
            </a:r>
          </a:p>
        </p:txBody>
      </p:sp>
    </p:spTree>
    <p:extLst>
      <p:ext uri="{BB962C8B-B14F-4D97-AF65-F5344CB8AC3E}">
        <p14:creationId xmlns:p14="http://schemas.microsoft.com/office/powerpoint/2010/main" val="11107842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&quot;Спасибо!&quot;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19050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252001" y="177800"/>
            <a:ext cx="1551401" cy="6064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8429206" y="6327671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017372" y="6184081"/>
            <a:ext cx="1874629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>
                <a:solidFill>
                  <a:schemeClr val="tx2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Телефон и </a:t>
            </a:r>
            <a:r>
              <a:rPr lang="en-US" dirty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16EB3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Спасибо! </a:t>
            </a:r>
            <a:endParaRPr lang="en-US" dirty="0"/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4636374" y="6184081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Адрес компан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020600" y="6184081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Управление и Отдел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705" y="5974591"/>
            <a:ext cx="1365991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65351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306677"/>
            <a:ext cx="6742113" cy="739775"/>
          </a:xfrm>
          <a:prstGeom prst="rect">
            <a:avLst/>
          </a:prstGeom>
        </p:spPr>
        <p:txBody>
          <a:bodyPr/>
          <a:lstStyle>
            <a:lvl1pPr>
              <a:defRPr sz="1875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76029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123827"/>
            <a:ext cx="6742113" cy="6572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4871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8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53363770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6" y="5737227"/>
            <a:ext cx="5522912" cy="20313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615554">
              <a:spcBef>
                <a:spcPct val="0"/>
              </a:spcBef>
              <a:buClrTx/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90" y="5183190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b"/>
          <a:lstStyle>
            <a:lvl1pPr algn="r" defTabSz="615554"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0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55646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5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275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03288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6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31804001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1" y="190500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71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>
                <a:solidFill>
                  <a:schemeClr val="tx2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Телефон и </a:t>
            </a:r>
            <a:r>
              <a:rPr lang="en-US" dirty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16EB3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Спасибо! / </a:t>
            </a:r>
            <a:r>
              <a:rPr lang="en-US" dirty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Адрес компан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Управление и Отдел</a:t>
            </a:r>
          </a:p>
        </p:txBody>
      </p:sp>
    </p:spTree>
    <p:extLst>
      <p:ext uri="{BB962C8B-B14F-4D97-AF65-F5344CB8AC3E}">
        <p14:creationId xmlns:p14="http://schemas.microsoft.com/office/powerpoint/2010/main" val="11262147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306677"/>
            <a:ext cx="6742113" cy="739775"/>
          </a:xfrm>
          <a:prstGeom prst="rect">
            <a:avLst/>
          </a:prstGeom>
        </p:spPr>
        <p:txBody>
          <a:bodyPr/>
          <a:lstStyle>
            <a:lvl1pPr>
              <a:defRPr sz="1875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048474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123827"/>
            <a:ext cx="6742113" cy="6572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14093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8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323204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123827"/>
            <a:ext cx="6742113" cy="6572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1091779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8" y="5737229"/>
            <a:ext cx="5522912" cy="20313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615441">
              <a:spcBef>
                <a:spcPct val="0"/>
              </a:spcBef>
              <a:buClrTx/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90" y="5183192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422" tIns="45712" rIns="91422" bIns="45712" anchor="b"/>
          <a:lstStyle>
            <a:lvl1pPr algn="r" defTabSz="615441"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9865895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5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422" tIns="45712" rIns="91422" bIns="45712" anchor="ctr"/>
          <a:lstStyle>
            <a:lvl1pPr>
              <a:defRPr kumimoji="1" lang="ru-RU" sz="1275" kern="1200">
                <a:solidFill>
                  <a:srgbClr val="016EB3"/>
                </a:solidFill>
              </a:defRPr>
            </a:lvl1pPr>
          </a:lstStyle>
          <a:p>
            <a:pPr lvl="0" defTabSz="615441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128486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8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85530661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68567" tIns="34284" rIns="68567" bIns="34284"/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1" y="190504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71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>
                <a:solidFill>
                  <a:schemeClr val="tx2"/>
                </a:solidFill>
              </a:defRPr>
            </a:lvl1pPr>
            <a:lvl2pPr marL="342837" indent="0">
              <a:buNone/>
              <a:defRPr sz="900"/>
            </a:lvl2pPr>
            <a:lvl3pPr marL="685674" indent="0">
              <a:buNone/>
              <a:defRPr sz="750"/>
            </a:lvl3pPr>
            <a:lvl4pPr marL="1028511" indent="0">
              <a:buNone/>
              <a:defRPr sz="675"/>
            </a:lvl4pPr>
            <a:lvl5pPr marL="1371347" indent="0">
              <a:buNone/>
              <a:defRPr sz="675"/>
            </a:lvl5pPr>
            <a:lvl6pPr marL="1714185" indent="0">
              <a:buNone/>
              <a:defRPr sz="675"/>
            </a:lvl6pPr>
            <a:lvl7pPr marL="2057021" indent="0">
              <a:buNone/>
              <a:defRPr sz="675"/>
            </a:lvl7pPr>
            <a:lvl8pPr marL="2399858" indent="0">
              <a:buNone/>
              <a:defRPr sz="675"/>
            </a:lvl8pPr>
            <a:lvl9pPr marL="2742696" indent="0">
              <a:buNone/>
              <a:defRPr sz="675"/>
            </a:lvl9pPr>
          </a:lstStyle>
          <a:p>
            <a:pPr lvl="0"/>
            <a:r>
              <a:rPr lang="ru-RU" dirty="0"/>
              <a:t>Телефон и </a:t>
            </a:r>
            <a:r>
              <a:rPr lang="en-US" dirty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16EB3"/>
                </a:solidFill>
              </a:defRPr>
            </a:lvl1pPr>
            <a:lvl2pPr marL="342837" indent="0">
              <a:buNone/>
              <a:defRPr sz="900"/>
            </a:lvl2pPr>
            <a:lvl3pPr marL="685674" indent="0">
              <a:buNone/>
              <a:defRPr sz="750"/>
            </a:lvl3pPr>
            <a:lvl4pPr marL="1028511" indent="0">
              <a:buNone/>
              <a:defRPr sz="675"/>
            </a:lvl4pPr>
            <a:lvl5pPr marL="1371347" indent="0">
              <a:buNone/>
              <a:defRPr sz="675"/>
            </a:lvl5pPr>
            <a:lvl6pPr marL="1714185" indent="0">
              <a:buNone/>
              <a:defRPr sz="675"/>
            </a:lvl6pPr>
            <a:lvl7pPr marL="2057021" indent="0">
              <a:buNone/>
              <a:defRPr sz="675"/>
            </a:lvl7pPr>
            <a:lvl8pPr marL="2399858" indent="0">
              <a:buNone/>
              <a:defRPr sz="675"/>
            </a:lvl8pPr>
            <a:lvl9pPr marL="2742696" indent="0">
              <a:buNone/>
              <a:defRPr sz="675"/>
            </a:lvl9pPr>
          </a:lstStyle>
          <a:p>
            <a:pPr lvl="0"/>
            <a:r>
              <a:rPr lang="ru-RU" dirty="0"/>
              <a:t>Спасибо! / </a:t>
            </a:r>
            <a:r>
              <a:rPr lang="en-US" dirty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Адрес компан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Управление и Отдел</a:t>
            </a:r>
          </a:p>
        </p:txBody>
      </p:sp>
    </p:spTree>
    <p:extLst>
      <p:ext uri="{BB962C8B-B14F-4D97-AF65-F5344CB8AC3E}">
        <p14:creationId xmlns:p14="http://schemas.microsoft.com/office/powerpoint/2010/main" val="128749270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679"/>
            <a:ext cx="6742113" cy="739775"/>
          </a:xfrm>
          <a:prstGeom prst="rect">
            <a:avLst/>
          </a:prstGeom>
        </p:spPr>
        <p:txBody>
          <a:bodyPr lIns="91422" tIns="45712" rIns="91422" bIns="45712"/>
          <a:lstStyle>
            <a:lvl1pPr>
              <a:defRPr sz="1875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368084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7"/>
            <a:ext cx="6742113" cy="657225"/>
          </a:xfrm>
          <a:prstGeom prst="rect">
            <a:avLst/>
          </a:prstGeom>
        </p:spPr>
        <p:txBody>
          <a:bodyPr lIns="91422" tIns="45712" rIns="91422" bIns="45712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585076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6" y="5737227"/>
            <a:ext cx="5522912" cy="20313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615554">
              <a:spcBef>
                <a:spcPct val="0"/>
              </a:spcBef>
              <a:buClrTx/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90" y="5183190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b"/>
          <a:lstStyle>
            <a:lvl1pPr algn="r" defTabSz="615554"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0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9723462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5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275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8040183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6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11647942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1" y="190500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71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>
                <a:solidFill>
                  <a:schemeClr val="tx2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Телефон и </a:t>
            </a:r>
            <a:r>
              <a:rPr lang="en-US" dirty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16EB3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Спасибо! / </a:t>
            </a:r>
            <a:r>
              <a:rPr lang="en-US" dirty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Адрес компан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Управление и Отдел</a:t>
            </a:r>
          </a:p>
        </p:txBody>
      </p:sp>
    </p:spTree>
    <p:extLst>
      <p:ext uri="{BB962C8B-B14F-4D97-AF65-F5344CB8AC3E}">
        <p14:creationId xmlns:p14="http://schemas.microsoft.com/office/powerpoint/2010/main" val="39097238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123827"/>
            <a:ext cx="6742113" cy="6572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111927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306677"/>
            <a:ext cx="6742113" cy="739775"/>
          </a:xfrm>
          <a:prstGeom prst="rect">
            <a:avLst/>
          </a:prstGeom>
        </p:spPr>
        <p:txBody>
          <a:bodyPr/>
          <a:lstStyle>
            <a:lvl1pPr>
              <a:defRPr sz="1875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179786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123827"/>
            <a:ext cx="6742113" cy="6572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948039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8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2942369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8" y="5737229"/>
            <a:ext cx="5522912" cy="20313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615441">
              <a:spcBef>
                <a:spcPct val="0"/>
              </a:spcBef>
              <a:buClrTx/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90" y="5183192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422" tIns="45712" rIns="91422" bIns="45712" anchor="b"/>
          <a:lstStyle>
            <a:lvl1pPr algn="r" defTabSz="615441"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104631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5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422" tIns="45712" rIns="91422" bIns="45712" anchor="ctr"/>
          <a:lstStyle>
            <a:lvl1pPr>
              <a:defRPr kumimoji="1" lang="ru-RU" sz="1275" kern="1200">
                <a:solidFill>
                  <a:srgbClr val="016EB3"/>
                </a:solidFill>
              </a:defRPr>
            </a:lvl1pPr>
          </a:lstStyle>
          <a:p>
            <a:pPr lvl="0" defTabSz="615441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495389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8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48031080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68567" tIns="34284" rIns="68567" bIns="34284"/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1" y="190504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71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>
                <a:solidFill>
                  <a:schemeClr val="tx2"/>
                </a:solidFill>
              </a:defRPr>
            </a:lvl1pPr>
            <a:lvl2pPr marL="342837" indent="0">
              <a:buNone/>
              <a:defRPr sz="900"/>
            </a:lvl2pPr>
            <a:lvl3pPr marL="685674" indent="0">
              <a:buNone/>
              <a:defRPr sz="750"/>
            </a:lvl3pPr>
            <a:lvl4pPr marL="1028511" indent="0">
              <a:buNone/>
              <a:defRPr sz="675"/>
            </a:lvl4pPr>
            <a:lvl5pPr marL="1371347" indent="0">
              <a:buNone/>
              <a:defRPr sz="675"/>
            </a:lvl5pPr>
            <a:lvl6pPr marL="1714185" indent="0">
              <a:buNone/>
              <a:defRPr sz="675"/>
            </a:lvl6pPr>
            <a:lvl7pPr marL="2057021" indent="0">
              <a:buNone/>
              <a:defRPr sz="675"/>
            </a:lvl7pPr>
            <a:lvl8pPr marL="2399858" indent="0">
              <a:buNone/>
              <a:defRPr sz="675"/>
            </a:lvl8pPr>
            <a:lvl9pPr marL="2742696" indent="0">
              <a:buNone/>
              <a:defRPr sz="675"/>
            </a:lvl9pPr>
          </a:lstStyle>
          <a:p>
            <a:pPr lvl="0"/>
            <a:r>
              <a:rPr lang="ru-RU" dirty="0"/>
              <a:t>Телефон и </a:t>
            </a:r>
            <a:r>
              <a:rPr lang="en-US" dirty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16EB3"/>
                </a:solidFill>
              </a:defRPr>
            </a:lvl1pPr>
            <a:lvl2pPr marL="342837" indent="0">
              <a:buNone/>
              <a:defRPr sz="900"/>
            </a:lvl2pPr>
            <a:lvl3pPr marL="685674" indent="0">
              <a:buNone/>
              <a:defRPr sz="750"/>
            </a:lvl3pPr>
            <a:lvl4pPr marL="1028511" indent="0">
              <a:buNone/>
              <a:defRPr sz="675"/>
            </a:lvl4pPr>
            <a:lvl5pPr marL="1371347" indent="0">
              <a:buNone/>
              <a:defRPr sz="675"/>
            </a:lvl5pPr>
            <a:lvl6pPr marL="1714185" indent="0">
              <a:buNone/>
              <a:defRPr sz="675"/>
            </a:lvl6pPr>
            <a:lvl7pPr marL="2057021" indent="0">
              <a:buNone/>
              <a:defRPr sz="675"/>
            </a:lvl7pPr>
            <a:lvl8pPr marL="2399858" indent="0">
              <a:buNone/>
              <a:defRPr sz="675"/>
            </a:lvl8pPr>
            <a:lvl9pPr marL="2742696" indent="0">
              <a:buNone/>
              <a:defRPr sz="675"/>
            </a:lvl9pPr>
          </a:lstStyle>
          <a:p>
            <a:pPr lvl="0"/>
            <a:r>
              <a:rPr lang="ru-RU" dirty="0"/>
              <a:t>Спасибо! / </a:t>
            </a:r>
            <a:r>
              <a:rPr lang="en-US" dirty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Адрес компан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Управление и Отдел</a:t>
            </a:r>
          </a:p>
        </p:txBody>
      </p:sp>
    </p:spTree>
    <p:extLst>
      <p:ext uri="{BB962C8B-B14F-4D97-AF65-F5344CB8AC3E}">
        <p14:creationId xmlns:p14="http://schemas.microsoft.com/office/powerpoint/2010/main" val="205247782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679"/>
            <a:ext cx="6742113" cy="739775"/>
          </a:xfrm>
          <a:prstGeom prst="rect">
            <a:avLst/>
          </a:prstGeom>
        </p:spPr>
        <p:txBody>
          <a:bodyPr lIns="91422" tIns="45712" rIns="91422" bIns="45712"/>
          <a:lstStyle>
            <a:lvl1pPr>
              <a:defRPr sz="1875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792296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7"/>
            <a:ext cx="6742113" cy="657225"/>
          </a:xfrm>
          <a:prstGeom prst="rect">
            <a:avLst/>
          </a:prstGeom>
        </p:spPr>
        <p:txBody>
          <a:bodyPr lIns="91422" tIns="45712" rIns="91422" bIns="45712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89076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8" y="5737229"/>
            <a:ext cx="5522912" cy="20313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615441">
              <a:spcBef>
                <a:spcPct val="0"/>
              </a:spcBef>
              <a:buClrTx/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90" y="5183192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422" tIns="45712" rIns="91422" bIns="45712" anchor="b"/>
          <a:lstStyle>
            <a:lvl1pPr algn="r" defTabSz="615441"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81508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5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275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6741327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5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422" tIns="45712" rIns="91422" bIns="45712" anchor="ctr"/>
          <a:lstStyle>
            <a:lvl1pPr>
              <a:defRPr kumimoji="1" lang="ru-RU" sz="1275" kern="1200">
                <a:solidFill>
                  <a:srgbClr val="016EB3"/>
                </a:solidFill>
              </a:defRPr>
            </a:lvl1pPr>
          </a:lstStyle>
          <a:p>
            <a:pPr lvl="0" defTabSz="615441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590624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8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34827266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68567" tIns="34284" rIns="68567" bIns="34284"/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1" y="190504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71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>
                <a:solidFill>
                  <a:schemeClr val="tx2"/>
                </a:solidFill>
              </a:defRPr>
            </a:lvl1pPr>
            <a:lvl2pPr marL="342837" indent="0">
              <a:buNone/>
              <a:defRPr sz="900"/>
            </a:lvl2pPr>
            <a:lvl3pPr marL="685674" indent="0">
              <a:buNone/>
              <a:defRPr sz="750"/>
            </a:lvl3pPr>
            <a:lvl4pPr marL="1028511" indent="0">
              <a:buNone/>
              <a:defRPr sz="675"/>
            </a:lvl4pPr>
            <a:lvl5pPr marL="1371347" indent="0">
              <a:buNone/>
              <a:defRPr sz="675"/>
            </a:lvl5pPr>
            <a:lvl6pPr marL="1714185" indent="0">
              <a:buNone/>
              <a:defRPr sz="675"/>
            </a:lvl6pPr>
            <a:lvl7pPr marL="2057021" indent="0">
              <a:buNone/>
              <a:defRPr sz="675"/>
            </a:lvl7pPr>
            <a:lvl8pPr marL="2399858" indent="0">
              <a:buNone/>
              <a:defRPr sz="675"/>
            </a:lvl8pPr>
            <a:lvl9pPr marL="2742696" indent="0">
              <a:buNone/>
              <a:defRPr sz="675"/>
            </a:lvl9pPr>
          </a:lstStyle>
          <a:p>
            <a:pPr lvl="0"/>
            <a:r>
              <a:rPr lang="ru-RU" dirty="0"/>
              <a:t>Телефон и </a:t>
            </a:r>
            <a:r>
              <a:rPr lang="en-US" dirty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16EB3"/>
                </a:solidFill>
              </a:defRPr>
            </a:lvl1pPr>
            <a:lvl2pPr marL="342837" indent="0">
              <a:buNone/>
              <a:defRPr sz="900"/>
            </a:lvl2pPr>
            <a:lvl3pPr marL="685674" indent="0">
              <a:buNone/>
              <a:defRPr sz="750"/>
            </a:lvl3pPr>
            <a:lvl4pPr marL="1028511" indent="0">
              <a:buNone/>
              <a:defRPr sz="675"/>
            </a:lvl4pPr>
            <a:lvl5pPr marL="1371347" indent="0">
              <a:buNone/>
              <a:defRPr sz="675"/>
            </a:lvl5pPr>
            <a:lvl6pPr marL="1714185" indent="0">
              <a:buNone/>
              <a:defRPr sz="675"/>
            </a:lvl6pPr>
            <a:lvl7pPr marL="2057021" indent="0">
              <a:buNone/>
              <a:defRPr sz="675"/>
            </a:lvl7pPr>
            <a:lvl8pPr marL="2399858" indent="0">
              <a:buNone/>
              <a:defRPr sz="675"/>
            </a:lvl8pPr>
            <a:lvl9pPr marL="2742696" indent="0">
              <a:buNone/>
              <a:defRPr sz="675"/>
            </a:lvl9pPr>
          </a:lstStyle>
          <a:p>
            <a:pPr lvl="0"/>
            <a:r>
              <a:rPr lang="ru-RU" dirty="0"/>
              <a:t>Спасибо! / </a:t>
            </a:r>
            <a:r>
              <a:rPr lang="en-US" dirty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Адрес компан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Управление и Отдел</a:t>
            </a:r>
          </a:p>
        </p:txBody>
      </p:sp>
    </p:spTree>
    <p:extLst>
      <p:ext uri="{BB962C8B-B14F-4D97-AF65-F5344CB8AC3E}">
        <p14:creationId xmlns:p14="http://schemas.microsoft.com/office/powerpoint/2010/main" val="30624896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679"/>
            <a:ext cx="6742113" cy="739775"/>
          </a:xfrm>
          <a:prstGeom prst="rect">
            <a:avLst/>
          </a:prstGeom>
        </p:spPr>
        <p:txBody>
          <a:bodyPr lIns="91422" tIns="45712" rIns="91422" bIns="45712"/>
          <a:lstStyle>
            <a:lvl1pPr>
              <a:defRPr sz="1875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01035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7"/>
            <a:ext cx="6742113" cy="657225"/>
          </a:xfrm>
          <a:prstGeom prst="rect">
            <a:avLst/>
          </a:prstGeom>
        </p:spPr>
        <p:txBody>
          <a:bodyPr lIns="91422" tIns="45712" rIns="91422" bIns="45712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08846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6" y="5737227"/>
            <a:ext cx="5522912" cy="20313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615554">
              <a:spcBef>
                <a:spcPct val="0"/>
              </a:spcBef>
              <a:buClrTx/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90" y="5183190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b"/>
          <a:lstStyle>
            <a:lvl1pPr algn="r" defTabSz="615554"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0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136617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5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275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524747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6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51212006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1" y="190500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71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>
                <a:solidFill>
                  <a:schemeClr val="tx2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Телефон и </a:t>
            </a:r>
            <a:r>
              <a:rPr lang="en-US" dirty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16EB3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Спасибо! / </a:t>
            </a:r>
            <a:r>
              <a:rPr lang="en-US" dirty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Адрес компан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Управление и Отдел</a:t>
            </a:r>
          </a:p>
        </p:txBody>
      </p:sp>
    </p:spTree>
    <p:extLst>
      <p:ext uri="{BB962C8B-B14F-4D97-AF65-F5344CB8AC3E}">
        <p14:creationId xmlns:p14="http://schemas.microsoft.com/office/powerpoint/2010/main" val="299887928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306677"/>
            <a:ext cx="6742113" cy="739775"/>
          </a:xfrm>
          <a:prstGeom prst="rect">
            <a:avLst/>
          </a:prstGeom>
        </p:spPr>
        <p:txBody>
          <a:bodyPr/>
          <a:lstStyle>
            <a:lvl1pPr>
              <a:defRPr sz="1875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08756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200" y="1638000"/>
            <a:ext cx="81504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81891" y="6519691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54001" y="285751"/>
            <a:ext cx="8613774" cy="611413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97448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123827"/>
            <a:ext cx="6742113" cy="6572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123637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8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19890593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8" y="5737229"/>
            <a:ext cx="5522912" cy="20313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615441">
              <a:spcBef>
                <a:spcPct val="0"/>
              </a:spcBef>
              <a:buClrTx/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90" y="5183192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422" tIns="45712" rIns="91422" bIns="45712" anchor="b"/>
          <a:lstStyle>
            <a:lvl1pPr algn="r" defTabSz="615441"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91105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5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422" tIns="45712" rIns="91422" bIns="45712" anchor="ctr"/>
          <a:lstStyle>
            <a:lvl1pPr>
              <a:defRPr kumimoji="1" lang="ru-RU" sz="1275" kern="1200">
                <a:solidFill>
                  <a:srgbClr val="016EB3"/>
                </a:solidFill>
              </a:defRPr>
            </a:lvl1pPr>
          </a:lstStyle>
          <a:p>
            <a:pPr lvl="0" defTabSz="615441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5214447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8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19644779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68567" tIns="34284" rIns="68567" bIns="34284"/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1" y="190504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71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>
                <a:solidFill>
                  <a:schemeClr val="tx2"/>
                </a:solidFill>
              </a:defRPr>
            </a:lvl1pPr>
            <a:lvl2pPr marL="342837" indent="0">
              <a:buNone/>
              <a:defRPr sz="900"/>
            </a:lvl2pPr>
            <a:lvl3pPr marL="685674" indent="0">
              <a:buNone/>
              <a:defRPr sz="750"/>
            </a:lvl3pPr>
            <a:lvl4pPr marL="1028511" indent="0">
              <a:buNone/>
              <a:defRPr sz="675"/>
            </a:lvl4pPr>
            <a:lvl5pPr marL="1371347" indent="0">
              <a:buNone/>
              <a:defRPr sz="675"/>
            </a:lvl5pPr>
            <a:lvl6pPr marL="1714185" indent="0">
              <a:buNone/>
              <a:defRPr sz="675"/>
            </a:lvl6pPr>
            <a:lvl7pPr marL="2057021" indent="0">
              <a:buNone/>
              <a:defRPr sz="675"/>
            </a:lvl7pPr>
            <a:lvl8pPr marL="2399858" indent="0">
              <a:buNone/>
              <a:defRPr sz="675"/>
            </a:lvl8pPr>
            <a:lvl9pPr marL="2742696" indent="0">
              <a:buNone/>
              <a:defRPr sz="675"/>
            </a:lvl9pPr>
          </a:lstStyle>
          <a:p>
            <a:pPr lvl="0"/>
            <a:r>
              <a:rPr lang="ru-RU" dirty="0"/>
              <a:t>Телефон и </a:t>
            </a:r>
            <a:r>
              <a:rPr lang="en-US" dirty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16EB3"/>
                </a:solidFill>
              </a:defRPr>
            </a:lvl1pPr>
            <a:lvl2pPr marL="342837" indent="0">
              <a:buNone/>
              <a:defRPr sz="900"/>
            </a:lvl2pPr>
            <a:lvl3pPr marL="685674" indent="0">
              <a:buNone/>
              <a:defRPr sz="750"/>
            </a:lvl3pPr>
            <a:lvl4pPr marL="1028511" indent="0">
              <a:buNone/>
              <a:defRPr sz="675"/>
            </a:lvl4pPr>
            <a:lvl5pPr marL="1371347" indent="0">
              <a:buNone/>
              <a:defRPr sz="675"/>
            </a:lvl5pPr>
            <a:lvl6pPr marL="1714185" indent="0">
              <a:buNone/>
              <a:defRPr sz="675"/>
            </a:lvl6pPr>
            <a:lvl7pPr marL="2057021" indent="0">
              <a:buNone/>
              <a:defRPr sz="675"/>
            </a:lvl7pPr>
            <a:lvl8pPr marL="2399858" indent="0">
              <a:buNone/>
              <a:defRPr sz="675"/>
            </a:lvl8pPr>
            <a:lvl9pPr marL="2742696" indent="0">
              <a:buNone/>
              <a:defRPr sz="675"/>
            </a:lvl9pPr>
          </a:lstStyle>
          <a:p>
            <a:pPr lvl="0"/>
            <a:r>
              <a:rPr lang="ru-RU" dirty="0"/>
              <a:t>Спасибо! / </a:t>
            </a:r>
            <a:r>
              <a:rPr lang="en-US" dirty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Адрес компан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Управление и Отдел</a:t>
            </a:r>
          </a:p>
        </p:txBody>
      </p:sp>
    </p:spTree>
    <p:extLst>
      <p:ext uri="{BB962C8B-B14F-4D97-AF65-F5344CB8AC3E}">
        <p14:creationId xmlns:p14="http://schemas.microsoft.com/office/powerpoint/2010/main" val="243036310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679"/>
            <a:ext cx="6742113" cy="739775"/>
          </a:xfrm>
          <a:prstGeom prst="rect">
            <a:avLst/>
          </a:prstGeom>
        </p:spPr>
        <p:txBody>
          <a:bodyPr lIns="91422" tIns="45712" rIns="91422" bIns="45712"/>
          <a:lstStyle>
            <a:lvl1pPr>
              <a:defRPr sz="1875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53323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7"/>
            <a:ext cx="6742113" cy="657225"/>
          </a:xfrm>
          <a:prstGeom prst="rect">
            <a:avLst/>
          </a:prstGeom>
        </p:spPr>
        <p:txBody>
          <a:bodyPr lIns="91422" tIns="45712" rIns="91422" bIns="45712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78769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8" y="5737229"/>
            <a:ext cx="5522912" cy="20313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615441">
              <a:spcBef>
                <a:spcPct val="0"/>
              </a:spcBef>
              <a:buClrTx/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90" y="5183192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422" tIns="45712" rIns="91422" bIns="45712" anchor="b"/>
          <a:lstStyle>
            <a:lvl1pPr algn="r" defTabSz="615441"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904985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5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422" tIns="45712" rIns="91422" bIns="45712" anchor="ctr"/>
          <a:lstStyle>
            <a:lvl1pPr>
              <a:defRPr kumimoji="1" lang="ru-RU" sz="1275" kern="1200">
                <a:solidFill>
                  <a:srgbClr val="016EB3"/>
                </a:solidFill>
              </a:defRPr>
            </a:lvl1pPr>
          </a:lstStyle>
          <a:p>
            <a:pPr lvl="0" defTabSz="615441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86185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6" y="5737227"/>
            <a:ext cx="5522912" cy="20313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615554">
              <a:spcBef>
                <a:spcPct val="0"/>
              </a:spcBef>
              <a:buClrTx/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90" y="5183190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b"/>
          <a:lstStyle>
            <a:lvl1pPr algn="r" defTabSz="615554"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0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6789005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8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20980211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68567" tIns="34284" rIns="68567" bIns="34284"/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1" y="190504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71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>
                <a:solidFill>
                  <a:schemeClr val="tx2"/>
                </a:solidFill>
              </a:defRPr>
            </a:lvl1pPr>
            <a:lvl2pPr marL="342837" indent="0">
              <a:buNone/>
              <a:defRPr sz="900"/>
            </a:lvl2pPr>
            <a:lvl3pPr marL="685674" indent="0">
              <a:buNone/>
              <a:defRPr sz="750"/>
            </a:lvl3pPr>
            <a:lvl4pPr marL="1028511" indent="0">
              <a:buNone/>
              <a:defRPr sz="675"/>
            </a:lvl4pPr>
            <a:lvl5pPr marL="1371347" indent="0">
              <a:buNone/>
              <a:defRPr sz="675"/>
            </a:lvl5pPr>
            <a:lvl6pPr marL="1714185" indent="0">
              <a:buNone/>
              <a:defRPr sz="675"/>
            </a:lvl6pPr>
            <a:lvl7pPr marL="2057021" indent="0">
              <a:buNone/>
              <a:defRPr sz="675"/>
            </a:lvl7pPr>
            <a:lvl8pPr marL="2399858" indent="0">
              <a:buNone/>
              <a:defRPr sz="675"/>
            </a:lvl8pPr>
            <a:lvl9pPr marL="2742696" indent="0">
              <a:buNone/>
              <a:defRPr sz="675"/>
            </a:lvl9pPr>
          </a:lstStyle>
          <a:p>
            <a:pPr lvl="0"/>
            <a:r>
              <a:rPr lang="ru-RU" dirty="0"/>
              <a:t>Телефон и </a:t>
            </a:r>
            <a:r>
              <a:rPr lang="en-US" dirty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16EB3"/>
                </a:solidFill>
              </a:defRPr>
            </a:lvl1pPr>
            <a:lvl2pPr marL="342837" indent="0">
              <a:buNone/>
              <a:defRPr sz="900"/>
            </a:lvl2pPr>
            <a:lvl3pPr marL="685674" indent="0">
              <a:buNone/>
              <a:defRPr sz="750"/>
            </a:lvl3pPr>
            <a:lvl4pPr marL="1028511" indent="0">
              <a:buNone/>
              <a:defRPr sz="675"/>
            </a:lvl4pPr>
            <a:lvl5pPr marL="1371347" indent="0">
              <a:buNone/>
              <a:defRPr sz="675"/>
            </a:lvl5pPr>
            <a:lvl6pPr marL="1714185" indent="0">
              <a:buNone/>
              <a:defRPr sz="675"/>
            </a:lvl6pPr>
            <a:lvl7pPr marL="2057021" indent="0">
              <a:buNone/>
              <a:defRPr sz="675"/>
            </a:lvl7pPr>
            <a:lvl8pPr marL="2399858" indent="0">
              <a:buNone/>
              <a:defRPr sz="675"/>
            </a:lvl8pPr>
            <a:lvl9pPr marL="2742696" indent="0">
              <a:buNone/>
              <a:defRPr sz="675"/>
            </a:lvl9pPr>
          </a:lstStyle>
          <a:p>
            <a:pPr lvl="0"/>
            <a:r>
              <a:rPr lang="ru-RU" dirty="0"/>
              <a:t>Спасибо! / </a:t>
            </a:r>
            <a:r>
              <a:rPr lang="en-US" dirty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Адрес компан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Управление и Отдел</a:t>
            </a:r>
          </a:p>
        </p:txBody>
      </p:sp>
    </p:spTree>
    <p:extLst>
      <p:ext uri="{BB962C8B-B14F-4D97-AF65-F5344CB8AC3E}">
        <p14:creationId xmlns:p14="http://schemas.microsoft.com/office/powerpoint/2010/main" val="293385984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679"/>
            <a:ext cx="6742113" cy="739775"/>
          </a:xfrm>
          <a:prstGeom prst="rect">
            <a:avLst/>
          </a:prstGeom>
        </p:spPr>
        <p:txBody>
          <a:bodyPr lIns="91422" tIns="45712" rIns="91422" bIns="45712"/>
          <a:lstStyle>
            <a:lvl1pPr>
              <a:defRPr sz="1875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039444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7"/>
            <a:ext cx="6742113" cy="657225"/>
          </a:xfrm>
          <a:prstGeom prst="rect">
            <a:avLst/>
          </a:prstGeom>
        </p:spPr>
        <p:txBody>
          <a:bodyPr lIns="91422" tIns="45712" rIns="91422" bIns="45712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247642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8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422" tIns="45712" rIns="91422" bIns="45712"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441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28065864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8" y="5737229"/>
            <a:ext cx="5522912" cy="20313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615441">
              <a:spcBef>
                <a:spcPct val="0"/>
              </a:spcBef>
              <a:buClrTx/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90" y="5183192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422" tIns="45712" rIns="91422" bIns="45712" anchor="b"/>
          <a:lstStyle>
            <a:lvl1pPr algn="r" defTabSz="615441"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1010113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5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422" tIns="45712" rIns="91422" bIns="45712" anchor="ctr"/>
          <a:lstStyle>
            <a:lvl1pPr>
              <a:defRPr kumimoji="1" lang="ru-RU" sz="1275" kern="1200">
                <a:solidFill>
                  <a:srgbClr val="016EB3"/>
                </a:solidFill>
              </a:defRPr>
            </a:lvl1pPr>
          </a:lstStyle>
          <a:p>
            <a:pPr lvl="0" defTabSz="615441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824259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8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03317879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68567" tIns="34284" rIns="68567" bIns="34284"/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1" y="190504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71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>
                <a:solidFill>
                  <a:schemeClr val="tx2"/>
                </a:solidFill>
              </a:defRPr>
            </a:lvl1pPr>
            <a:lvl2pPr marL="342837" indent="0">
              <a:buNone/>
              <a:defRPr sz="900"/>
            </a:lvl2pPr>
            <a:lvl3pPr marL="685674" indent="0">
              <a:buNone/>
              <a:defRPr sz="750"/>
            </a:lvl3pPr>
            <a:lvl4pPr marL="1028511" indent="0">
              <a:buNone/>
              <a:defRPr sz="675"/>
            </a:lvl4pPr>
            <a:lvl5pPr marL="1371347" indent="0">
              <a:buNone/>
              <a:defRPr sz="675"/>
            </a:lvl5pPr>
            <a:lvl6pPr marL="1714185" indent="0">
              <a:buNone/>
              <a:defRPr sz="675"/>
            </a:lvl6pPr>
            <a:lvl7pPr marL="2057021" indent="0">
              <a:buNone/>
              <a:defRPr sz="675"/>
            </a:lvl7pPr>
            <a:lvl8pPr marL="2399858" indent="0">
              <a:buNone/>
              <a:defRPr sz="675"/>
            </a:lvl8pPr>
            <a:lvl9pPr marL="2742696" indent="0">
              <a:buNone/>
              <a:defRPr sz="675"/>
            </a:lvl9pPr>
          </a:lstStyle>
          <a:p>
            <a:pPr lvl="0"/>
            <a:r>
              <a:rPr lang="ru-RU" dirty="0"/>
              <a:t>Телефон и </a:t>
            </a:r>
            <a:r>
              <a:rPr lang="en-US" dirty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16EB3"/>
                </a:solidFill>
              </a:defRPr>
            </a:lvl1pPr>
            <a:lvl2pPr marL="342837" indent="0">
              <a:buNone/>
              <a:defRPr sz="900"/>
            </a:lvl2pPr>
            <a:lvl3pPr marL="685674" indent="0">
              <a:buNone/>
              <a:defRPr sz="750"/>
            </a:lvl3pPr>
            <a:lvl4pPr marL="1028511" indent="0">
              <a:buNone/>
              <a:defRPr sz="675"/>
            </a:lvl4pPr>
            <a:lvl5pPr marL="1371347" indent="0">
              <a:buNone/>
              <a:defRPr sz="675"/>
            </a:lvl5pPr>
            <a:lvl6pPr marL="1714185" indent="0">
              <a:buNone/>
              <a:defRPr sz="675"/>
            </a:lvl6pPr>
            <a:lvl7pPr marL="2057021" indent="0">
              <a:buNone/>
              <a:defRPr sz="675"/>
            </a:lvl7pPr>
            <a:lvl8pPr marL="2399858" indent="0">
              <a:buNone/>
              <a:defRPr sz="675"/>
            </a:lvl8pPr>
            <a:lvl9pPr marL="2742696" indent="0">
              <a:buNone/>
              <a:defRPr sz="675"/>
            </a:lvl9pPr>
          </a:lstStyle>
          <a:p>
            <a:pPr lvl="0"/>
            <a:r>
              <a:rPr lang="ru-RU" dirty="0"/>
              <a:t>Спасибо! / </a:t>
            </a:r>
            <a:r>
              <a:rPr lang="en-US" dirty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Адрес компан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Управление и Отдел</a:t>
            </a:r>
          </a:p>
        </p:txBody>
      </p:sp>
    </p:spTree>
    <p:extLst>
      <p:ext uri="{BB962C8B-B14F-4D97-AF65-F5344CB8AC3E}">
        <p14:creationId xmlns:p14="http://schemas.microsoft.com/office/powerpoint/2010/main" val="224020337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679"/>
            <a:ext cx="6742113" cy="739775"/>
          </a:xfrm>
          <a:prstGeom prst="rect">
            <a:avLst/>
          </a:prstGeom>
        </p:spPr>
        <p:txBody>
          <a:bodyPr lIns="91422" tIns="45712" rIns="91422" bIns="45712"/>
          <a:lstStyle>
            <a:lvl1pPr>
              <a:defRPr sz="1875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8034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5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275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8271665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7"/>
            <a:ext cx="6742113" cy="657225"/>
          </a:xfrm>
          <a:prstGeom prst="rect">
            <a:avLst/>
          </a:prstGeom>
        </p:spPr>
        <p:txBody>
          <a:bodyPr lIns="91422" tIns="45712" rIns="91422" bIns="45712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447977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8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422" tIns="45712" rIns="91422" bIns="45712"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441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8309642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6" y="5737227"/>
            <a:ext cx="5522912" cy="20313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615554">
              <a:spcBef>
                <a:spcPct val="0"/>
              </a:spcBef>
              <a:buClrTx/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90" y="5183190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b"/>
          <a:lstStyle>
            <a:lvl1pPr algn="r" defTabSz="615554"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0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446743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5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275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216920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6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55547067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1" y="190500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71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>
                <a:solidFill>
                  <a:schemeClr val="tx2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Телефон и </a:t>
            </a:r>
            <a:r>
              <a:rPr lang="en-US" dirty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2700">
                <a:solidFill>
                  <a:srgbClr val="016EB3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dirty="0"/>
              <a:t>Спасибо! / </a:t>
            </a:r>
            <a:r>
              <a:rPr lang="en-US" dirty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Адрес компании</a:t>
            </a:r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defRPr sz="825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Управление и Отдел</a:t>
            </a:r>
          </a:p>
        </p:txBody>
      </p:sp>
    </p:spTree>
    <p:extLst>
      <p:ext uri="{BB962C8B-B14F-4D97-AF65-F5344CB8AC3E}">
        <p14:creationId xmlns:p14="http://schemas.microsoft.com/office/powerpoint/2010/main" val="240959014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306677"/>
            <a:ext cx="6742113" cy="739775"/>
          </a:xfrm>
          <a:prstGeom prst="rect">
            <a:avLst/>
          </a:prstGeom>
        </p:spPr>
        <p:txBody>
          <a:bodyPr/>
          <a:lstStyle>
            <a:lvl1pPr>
              <a:defRPr sz="1875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756020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6" y="123827"/>
            <a:ext cx="6742113" cy="6572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57203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7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8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5201655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200" y="1638000"/>
            <a:ext cx="8150400" cy="4467600"/>
          </a:xfrm>
        </p:spPr>
        <p:txBody>
          <a:bodyPr/>
          <a:lstStyle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81891" y="6519691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54001" y="285751"/>
            <a:ext cx="8613774" cy="611413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350" kern="1200">
                <a:solidFill>
                  <a:srgbClr val="016EB3"/>
                </a:solidFill>
              </a:defRPr>
            </a:lvl1pPr>
          </a:lstStyle>
          <a:p>
            <a:pPr lvl="0" defTabSz="615554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594297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oleObject" Target="../embeddings/oleObject8.bin"/><Relationship Id="rId5" Type="http://schemas.openxmlformats.org/officeDocument/2006/relationships/slideLayout" Target="../slideLayouts/slideLayout69.xml"/><Relationship Id="rId10" Type="http://schemas.openxmlformats.org/officeDocument/2006/relationships/tags" Target="../tags/tag9.xml"/><Relationship Id="rId4" Type="http://schemas.openxmlformats.org/officeDocument/2006/relationships/slideLayout" Target="../slideLayouts/slideLayout68.xml"/><Relationship Id="rId9" Type="http://schemas.openxmlformats.org/officeDocument/2006/relationships/vmlDrawing" Target="../drawings/vmlDrawing8.vml"/><Relationship Id="rId14" Type="http://schemas.openxmlformats.org/officeDocument/2006/relationships/image" Target="../media/image5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9.v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74.xml"/><Relationship Id="rId7" Type="http://schemas.openxmlformats.org/officeDocument/2006/relationships/theme" Target="../theme/theme11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76.xml"/><Relationship Id="rId10" Type="http://schemas.openxmlformats.org/officeDocument/2006/relationships/oleObject" Target="../embeddings/oleObject9.bin"/><Relationship Id="rId4" Type="http://schemas.openxmlformats.org/officeDocument/2006/relationships/slideLayout" Target="../slideLayouts/slideLayout75.xml"/><Relationship Id="rId9" Type="http://schemas.openxmlformats.org/officeDocument/2006/relationships/tags" Target="../tags/tag1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heme" Target="../theme/theme12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oleObject" Target="../embeddings/oleObject10.bin"/><Relationship Id="rId5" Type="http://schemas.openxmlformats.org/officeDocument/2006/relationships/slideLayout" Target="../slideLayouts/slideLayout82.xml"/><Relationship Id="rId10" Type="http://schemas.openxmlformats.org/officeDocument/2006/relationships/tags" Target="../tags/tag11.xml"/><Relationship Id="rId4" Type="http://schemas.openxmlformats.org/officeDocument/2006/relationships/slideLayout" Target="../slideLayouts/slideLayout81.xml"/><Relationship Id="rId9" Type="http://schemas.openxmlformats.org/officeDocument/2006/relationships/vmlDrawing" Target="../drawings/vmlDrawing10.vml"/><Relationship Id="rId14" Type="http://schemas.openxmlformats.org/officeDocument/2006/relationships/image" Target="../media/image5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heme" Target="../theme/theme13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oleObject" Target="../embeddings/oleObject11.bin"/><Relationship Id="rId5" Type="http://schemas.openxmlformats.org/officeDocument/2006/relationships/slideLayout" Target="../slideLayouts/slideLayout89.xml"/><Relationship Id="rId10" Type="http://schemas.openxmlformats.org/officeDocument/2006/relationships/tags" Target="../tags/tag12.xml"/><Relationship Id="rId4" Type="http://schemas.openxmlformats.org/officeDocument/2006/relationships/slideLayout" Target="../slideLayouts/slideLayout88.xml"/><Relationship Id="rId9" Type="http://schemas.openxmlformats.org/officeDocument/2006/relationships/vmlDrawing" Target="../drawings/vmlDrawing11.vml"/><Relationship Id="rId14" Type="http://schemas.openxmlformats.org/officeDocument/2006/relationships/image" Target="../media/image5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image" Target="../media/image3.emf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oleObject" Target="../embeddings/oleObject12.bin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tags" Target="../tags/tag13.xml"/><Relationship Id="rId5" Type="http://schemas.openxmlformats.org/officeDocument/2006/relationships/slideLayout" Target="../slideLayouts/slideLayout96.xml"/><Relationship Id="rId15" Type="http://schemas.openxmlformats.org/officeDocument/2006/relationships/image" Target="../media/image5.png"/><Relationship Id="rId10" Type="http://schemas.openxmlformats.org/officeDocument/2006/relationships/vmlDrawing" Target="../drawings/vmlDrawing12.vml"/><Relationship Id="rId4" Type="http://schemas.openxmlformats.org/officeDocument/2006/relationships/slideLayout" Target="../slideLayouts/slideLayout95.xml"/><Relationship Id="rId9" Type="http://schemas.openxmlformats.org/officeDocument/2006/relationships/theme" Target="../theme/theme14.xml"/><Relationship Id="rId14" Type="http://schemas.openxmlformats.org/officeDocument/2006/relationships/image" Target="../media/image4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image" Target="../media/image3.emf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oleObject" Target="../embeddings/oleObject13.bin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tags" Target="../tags/tag14.xml"/><Relationship Id="rId5" Type="http://schemas.openxmlformats.org/officeDocument/2006/relationships/slideLayout" Target="../slideLayouts/slideLayout104.xml"/><Relationship Id="rId15" Type="http://schemas.openxmlformats.org/officeDocument/2006/relationships/image" Target="../media/image5.png"/><Relationship Id="rId10" Type="http://schemas.openxmlformats.org/officeDocument/2006/relationships/vmlDrawing" Target="../drawings/vmlDrawing13.vml"/><Relationship Id="rId4" Type="http://schemas.openxmlformats.org/officeDocument/2006/relationships/slideLayout" Target="../slideLayouts/slideLayout103.xml"/><Relationship Id="rId9" Type="http://schemas.openxmlformats.org/officeDocument/2006/relationships/theme" Target="../theme/theme15.xml"/><Relationship Id="rId14" Type="http://schemas.openxmlformats.org/officeDocument/2006/relationships/image" Target="../media/image4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image" Target="../media/image3.emf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oleObject" Target="../embeddings/oleObject14.bin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tags" Target="../tags/tag15.xml"/><Relationship Id="rId5" Type="http://schemas.openxmlformats.org/officeDocument/2006/relationships/slideLayout" Target="../slideLayouts/slideLayout112.xml"/><Relationship Id="rId15" Type="http://schemas.openxmlformats.org/officeDocument/2006/relationships/image" Target="../media/image5.png"/><Relationship Id="rId10" Type="http://schemas.openxmlformats.org/officeDocument/2006/relationships/vmlDrawing" Target="../drawings/vmlDrawing14.vml"/><Relationship Id="rId4" Type="http://schemas.openxmlformats.org/officeDocument/2006/relationships/slideLayout" Target="../slideLayouts/slideLayout111.xml"/><Relationship Id="rId9" Type="http://schemas.openxmlformats.org/officeDocument/2006/relationships/theme" Target="../theme/theme16.xml"/><Relationship Id="rId14" Type="http://schemas.openxmlformats.org/officeDocument/2006/relationships/image" Target="../media/image4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oleObject" Target="../embeddings/oleObject15.bin"/><Relationship Id="rId3" Type="http://schemas.openxmlformats.org/officeDocument/2006/relationships/slideLayout" Target="../slideLayouts/slideLayout118.xml"/><Relationship Id="rId7" Type="http://schemas.openxmlformats.org/officeDocument/2006/relationships/slideLayout" Target="../slideLayouts/slideLayout122.xml"/><Relationship Id="rId12" Type="http://schemas.openxmlformats.org/officeDocument/2006/relationships/tags" Target="../tags/tag16.xml"/><Relationship Id="rId2" Type="http://schemas.openxmlformats.org/officeDocument/2006/relationships/slideLayout" Target="../slideLayouts/slideLayout117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vmlDrawing" Target="../drawings/vmlDrawing15.vml"/><Relationship Id="rId5" Type="http://schemas.openxmlformats.org/officeDocument/2006/relationships/slideLayout" Target="../slideLayouts/slideLayout120.xml"/><Relationship Id="rId15" Type="http://schemas.openxmlformats.org/officeDocument/2006/relationships/image" Target="../media/image4.png"/><Relationship Id="rId10" Type="http://schemas.openxmlformats.org/officeDocument/2006/relationships/theme" Target="../theme/theme17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image" Target="../media/image3.emf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oleObject" Target="../embeddings/oleObject16.bin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tags" Target="../tags/tag17.xml"/><Relationship Id="rId2" Type="http://schemas.openxmlformats.org/officeDocument/2006/relationships/slideLayout" Target="../slideLayouts/slideLayout126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vmlDrawing" Target="../drawings/vmlDrawing16.vml"/><Relationship Id="rId5" Type="http://schemas.openxmlformats.org/officeDocument/2006/relationships/slideLayout" Target="../slideLayouts/slideLayout129.xml"/><Relationship Id="rId15" Type="http://schemas.openxmlformats.org/officeDocument/2006/relationships/image" Target="../media/image4.png"/><Relationship Id="rId10" Type="http://schemas.openxmlformats.org/officeDocument/2006/relationships/theme" Target="../theme/theme18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image" Target="../media/image3.emf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.xml"/><Relationship Id="rId13" Type="http://schemas.openxmlformats.org/officeDocument/2006/relationships/oleObject" Target="../embeddings/oleObject17.bin"/><Relationship Id="rId3" Type="http://schemas.openxmlformats.org/officeDocument/2006/relationships/slideLayout" Target="../slideLayouts/slideLayout136.xml"/><Relationship Id="rId7" Type="http://schemas.openxmlformats.org/officeDocument/2006/relationships/slideLayout" Target="../slideLayouts/slideLayout140.xml"/><Relationship Id="rId12" Type="http://schemas.openxmlformats.org/officeDocument/2006/relationships/tags" Target="../tags/tag18.xml"/><Relationship Id="rId2" Type="http://schemas.openxmlformats.org/officeDocument/2006/relationships/slideLayout" Target="../slideLayouts/slideLayout135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1" Type="http://schemas.openxmlformats.org/officeDocument/2006/relationships/vmlDrawing" Target="../drawings/vmlDrawing17.vml"/><Relationship Id="rId5" Type="http://schemas.openxmlformats.org/officeDocument/2006/relationships/slideLayout" Target="../slideLayouts/slideLayout138.xml"/><Relationship Id="rId15" Type="http://schemas.openxmlformats.org/officeDocument/2006/relationships/image" Target="../media/image4.png"/><Relationship Id="rId10" Type="http://schemas.openxmlformats.org/officeDocument/2006/relationships/theme" Target="../theme/theme19.xml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Relationship Id="rId14" Type="http://schemas.openxmlformats.org/officeDocument/2006/relationships/image" Target="../media/image3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2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11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5.pn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.xml"/><Relationship Id="rId13" Type="http://schemas.openxmlformats.org/officeDocument/2006/relationships/oleObject" Target="../embeddings/oleObject18.bin"/><Relationship Id="rId3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149.xml"/><Relationship Id="rId12" Type="http://schemas.openxmlformats.org/officeDocument/2006/relationships/tags" Target="../tags/tag19.xml"/><Relationship Id="rId2" Type="http://schemas.openxmlformats.org/officeDocument/2006/relationships/slideLayout" Target="../slideLayouts/slideLayout144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vmlDrawing" Target="../drawings/vmlDrawing18.vml"/><Relationship Id="rId5" Type="http://schemas.openxmlformats.org/officeDocument/2006/relationships/slideLayout" Target="../slideLayouts/slideLayout147.xml"/><Relationship Id="rId15" Type="http://schemas.openxmlformats.org/officeDocument/2006/relationships/image" Target="../media/image4.png"/><Relationship Id="rId10" Type="http://schemas.openxmlformats.org/officeDocument/2006/relationships/theme" Target="../theme/theme20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Relationship Id="rId14" Type="http://schemas.openxmlformats.org/officeDocument/2006/relationships/image" Target="../media/image3.emf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theme" Target="../theme/theme21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oleObject" Target="../embeddings/oleObject19.bin"/><Relationship Id="rId5" Type="http://schemas.openxmlformats.org/officeDocument/2006/relationships/slideLayout" Target="../slideLayouts/slideLayout156.xml"/><Relationship Id="rId10" Type="http://schemas.openxmlformats.org/officeDocument/2006/relationships/tags" Target="../tags/tag20.xml"/><Relationship Id="rId4" Type="http://schemas.openxmlformats.org/officeDocument/2006/relationships/slideLayout" Target="../slideLayouts/slideLayout155.xml"/><Relationship Id="rId9" Type="http://schemas.openxmlformats.org/officeDocument/2006/relationships/vmlDrawing" Target="../drawings/vmlDrawing19.vml"/><Relationship Id="rId14" Type="http://schemas.openxmlformats.org/officeDocument/2006/relationships/image" Target="../media/image5.pn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13" Type="http://schemas.openxmlformats.org/officeDocument/2006/relationships/oleObject" Target="../embeddings/oleObject20.bin"/><Relationship Id="rId3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65.xml"/><Relationship Id="rId12" Type="http://schemas.openxmlformats.org/officeDocument/2006/relationships/tags" Target="../tags/tag21.xml"/><Relationship Id="rId2" Type="http://schemas.openxmlformats.org/officeDocument/2006/relationships/slideLayout" Target="../slideLayouts/slideLayout160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vmlDrawing" Target="../drawings/vmlDrawing20.vml"/><Relationship Id="rId5" Type="http://schemas.openxmlformats.org/officeDocument/2006/relationships/slideLayout" Target="../slideLayouts/slideLayout163.xml"/><Relationship Id="rId15" Type="http://schemas.openxmlformats.org/officeDocument/2006/relationships/image" Target="../media/image4.png"/><Relationship Id="rId10" Type="http://schemas.openxmlformats.org/officeDocument/2006/relationships/theme" Target="../theme/theme22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Relationship Id="rId14" Type="http://schemas.openxmlformats.org/officeDocument/2006/relationships/image" Target="../media/image3.emf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5.xml"/><Relationship Id="rId13" Type="http://schemas.openxmlformats.org/officeDocument/2006/relationships/oleObject" Target="../embeddings/oleObject21.bin"/><Relationship Id="rId3" Type="http://schemas.openxmlformats.org/officeDocument/2006/relationships/slideLayout" Target="../slideLayouts/slideLayout170.xml"/><Relationship Id="rId7" Type="http://schemas.openxmlformats.org/officeDocument/2006/relationships/slideLayout" Target="../slideLayouts/slideLayout174.xml"/><Relationship Id="rId12" Type="http://schemas.openxmlformats.org/officeDocument/2006/relationships/tags" Target="../tags/tag22.xml"/><Relationship Id="rId2" Type="http://schemas.openxmlformats.org/officeDocument/2006/relationships/slideLayout" Target="../slideLayouts/slideLayout169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1" Type="http://schemas.openxmlformats.org/officeDocument/2006/relationships/vmlDrawing" Target="../drawings/vmlDrawing21.vml"/><Relationship Id="rId5" Type="http://schemas.openxmlformats.org/officeDocument/2006/relationships/slideLayout" Target="../slideLayouts/slideLayout172.xml"/><Relationship Id="rId15" Type="http://schemas.openxmlformats.org/officeDocument/2006/relationships/image" Target="../media/image4.png"/><Relationship Id="rId10" Type="http://schemas.openxmlformats.org/officeDocument/2006/relationships/theme" Target="../theme/theme23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Relationship Id="rId14" Type="http://schemas.openxmlformats.org/officeDocument/2006/relationships/image" Target="../media/image3.emf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oleObject" Target="../embeddings/oleObject22.bin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12" Type="http://schemas.openxmlformats.org/officeDocument/2006/relationships/tags" Target="../tags/tag23.xml"/><Relationship Id="rId2" Type="http://schemas.openxmlformats.org/officeDocument/2006/relationships/slideLayout" Target="../slideLayouts/slideLayout178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vmlDrawing" Target="../drawings/vmlDrawing22.vml"/><Relationship Id="rId5" Type="http://schemas.openxmlformats.org/officeDocument/2006/relationships/slideLayout" Target="../slideLayouts/slideLayout181.xml"/><Relationship Id="rId15" Type="http://schemas.openxmlformats.org/officeDocument/2006/relationships/image" Target="../media/image4.png"/><Relationship Id="rId10" Type="http://schemas.openxmlformats.org/officeDocument/2006/relationships/theme" Target="../theme/theme24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image" Target="../media/image3.emf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3.xml"/><Relationship Id="rId13" Type="http://schemas.openxmlformats.org/officeDocument/2006/relationships/oleObject" Target="../embeddings/oleObject23.bin"/><Relationship Id="rId3" Type="http://schemas.openxmlformats.org/officeDocument/2006/relationships/slideLayout" Target="../slideLayouts/slideLayout188.xml"/><Relationship Id="rId7" Type="http://schemas.openxmlformats.org/officeDocument/2006/relationships/slideLayout" Target="../slideLayouts/slideLayout192.xml"/><Relationship Id="rId12" Type="http://schemas.openxmlformats.org/officeDocument/2006/relationships/tags" Target="../tags/tag24.xml"/><Relationship Id="rId2" Type="http://schemas.openxmlformats.org/officeDocument/2006/relationships/slideLayout" Target="../slideLayouts/slideLayout187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91.xml"/><Relationship Id="rId11" Type="http://schemas.openxmlformats.org/officeDocument/2006/relationships/vmlDrawing" Target="../drawings/vmlDrawing23.vml"/><Relationship Id="rId5" Type="http://schemas.openxmlformats.org/officeDocument/2006/relationships/slideLayout" Target="../slideLayouts/slideLayout190.xml"/><Relationship Id="rId15" Type="http://schemas.openxmlformats.org/officeDocument/2006/relationships/image" Target="../media/image4.png"/><Relationship Id="rId10" Type="http://schemas.openxmlformats.org/officeDocument/2006/relationships/theme" Target="../theme/theme25.xml"/><Relationship Id="rId4" Type="http://schemas.openxmlformats.org/officeDocument/2006/relationships/slideLayout" Target="../slideLayouts/slideLayout189.xml"/><Relationship Id="rId9" Type="http://schemas.openxmlformats.org/officeDocument/2006/relationships/slideLayout" Target="../slideLayouts/slideLayout194.xml"/><Relationship Id="rId14" Type="http://schemas.openxmlformats.org/officeDocument/2006/relationships/image" Target="../media/image3.emf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2.xml"/><Relationship Id="rId13" Type="http://schemas.openxmlformats.org/officeDocument/2006/relationships/image" Target="../media/image3.emf"/><Relationship Id="rId3" Type="http://schemas.openxmlformats.org/officeDocument/2006/relationships/slideLayout" Target="../slideLayouts/slideLayout197.xml"/><Relationship Id="rId7" Type="http://schemas.openxmlformats.org/officeDocument/2006/relationships/slideLayout" Target="../slideLayouts/slideLayout201.xml"/><Relationship Id="rId12" Type="http://schemas.openxmlformats.org/officeDocument/2006/relationships/oleObject" Target="../embeddings/oleObject24.bin"/><Relationship Id="rId2" Type="http://schemas.openxmlformats.org/officeDocument/2006/relationships/slideLayout" Target="../slideLayouts/slideLayout196.xml"/><Relationship Id="rId1" Type="http://schemas.openxmlformats.org/officeDocument/2006/relationships/slideLayout" Target="../slideLayouts/slideLayout195.xml"/><Relationship Id="rId6" Type="http://schemas.openxmlformats.org/officeDocument/2006/relationships/slideLayout" Target="../slideLayouts/slideLayout200.xml"/><Relationship Id="rId11" Type="http://schemas.openxmlformats.org/officeDocument/2006/relationships/tags" Target="../tags/tag25.xml"/><Relationship Id="rId5" Type="http://schemas.openxmlformats.org/officeDocument/2006/relationships/slideLayout" Target="../slideLayouts/slideLayout199.xml"/><Relationship Id="rId15" Type="http://schemas.openxmlformats.org/officeDocument/2006/relationships/image" Target="../media/image5.png"/><Relationship Id="rId10" Type="http://schemas.openxmlformats.org/officeDocument/2006/relationships/vmlDrawing" Target="../drawings/vmlDrawing24.vml"/><Relationship Id="rId4" Type="http://schemas.openxmlformats.org/officeDocument/2006/relationships/slideLayout" Target="../slideLayouts/slideLayout198.xml"/><Relationship Id="rId9" Type="http://schemas.openxmlformats.org/officeDocument/2006/relationships/theme" Target="../theme/theme26.xml"/><Relationship Id="rId14" Type="http://schemas.openxmlformats.org/officeDocument/2006/relationships/image" Target="../media/image4.pn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0.xml"/><Relationship Id="rId13" Type="http://schemas.openxmlformats.org/officeDocument/2006/relationships/image" Target="../media/image3.emf"/><Relationship Id="rId3" Type="http://schemas.openxmlformats.org/officeDocument/2006/relationships/slideLayout" Target="../slideLayouts/slideLayout205.xml"/><Relationship Id="rId7" Type="http://schemas.openxmlformats.org/officeDocument/2006/relationships/slideLayout" Target="../slideLayouts/slideLayout209.xml"/><Relationship Id="rId12" Type="http://schemas.openxmlformats.org/officeDocument/2006/relationships/oleObject" Target="../embeddings/oleObject25.bin"/><Relationship Id="rId2" Type="http://schemas.openxmlformats.org/officeDocument/2006/relationships/slideLayout" Target="../slideLayouts/slideLayout204.xml"/><Relationship Id="rId1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8.xml"/><Relationship Id="rId11" Type="http://schemas.openxmlformats.org/officeDocument/2006/relationships/tags" Target="../tags/tag26.xml"/><Relationship Id="rId5" Type="http://schemas.openxmlformats.org/officeDocument/2006/relationships/slideLayout" Target="../slideLayouts/slideLayout207.xml"/><Relationship Id="rId15" Type="http://schemas.openxmlformats.org/officeDocument/2006/relationships/image" Target="../media/image5.png"/><Relationship Id="rId10" Type="http://schemas.openxmlformats.org/officeDocument/2006/relationships/vmlDrawing" Target="../drawings/vmlDrawing25.vml"/><Relationship Id="rId4" Type="http://schemas.openxmlformats.org/officeDocument/2006/relationships/slideLayout" Target="../slideLayouts/slideLayout206.xml"/><Relationship Id="rId9" Type="http://schemas.openxmlformats.org/officeDocument/2006/relationships/theme" Target="../theme/theme27.xml"/><Relationship Id="rId14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30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29.xml"/><Relationship Id="rId9" Type="http://schemas.openxmlformats.org/officeDocument/2006/relationships/vmlDrawing" Target="../drawings/vmlDrawing2.vml"/><Relationship Id="rId14" Type="http://schemas.openxmlformats.org/officeDocument/2006/relationships/image" Target="../media/image5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37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36.xml"/><Relationship Id="rId9" Type="http://schemas.openxmlformats.org/officeDocument/2006/relationships/vmlDrawing" Target="../drawings/vmlDrawing3.vml"/><Relationship Id="rId14" Type="http://schemas.openxmlformats.org/officeDocument/2006/relationships/image" Target="../media/image5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.v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42.xml"/><Relationship Id="rId7" Type="http://schemas.openxmlformats.org/officeDocument/2006/relationships/theme" Target="../theme/theme6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44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43.xml"/><Relationship Id="rId9" Type="http://schemas.openxmlformats.org/officeDocument/2006/relationships/tags" Target="../tags/tag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oleObject" Target="../embeddings/oleObject5.bin"/><Relationship Id="rId5" Type="http://schemas.openxmlformats.org/officeDocument/2006/relationships/slideLayout" Target="../slideLayouts/slideLayout50.xml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49.xml"/><Relationship Id="rId9" Type="http://schemas.openxmlformats.org/officeDocument/2006/relationships/vmlDrawing" Target="../drawings/vmlDrawing5.vml"/><Relationship Id="rId14" Type="http://schemas.openxmlformats.org/officeDocument/2006/relationships/image" Target="../media/image5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55.xml"/><Relationship Id="rId7" Type="http://schemas.openxmlformats.org/officeDocument/2006/relationships/theme" Target="../theme/theme8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57.xml"/><Relationship Id="rId10" Type="http://schemas.openxmlformats.org/officeDocument/2006/relationships/oleObject" Target="../embeddings/oleObject6.bin"/><Relationship Id="rId4" Type="http://schemas.openxmlformats.org/officeDocument/2006/relationships/slideLayout" Target="../slideLayouts/slideLayout56.xml"/><Relationship Id="rId9" Type="http://schemas.openxmlformats.org/officeDocument/2006/relationships/tags" Target="../tags/tag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7.v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61.xml"/><Relationship Id="rId7" Type="http://schemas.openxmlformats.org/officeDocument/2006/relationships/theme" Target="../theme/theme9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63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62.xml"/><Relationship Id="rId9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58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kumimoji="0" lang="en-US" kern="0" dirty="0"/>
              <a:t>Click to edit Master text styles</a:t>
            </a:r>
          </a:p>
          <a:p>
            <a:pPr lvl="1"/>
            <a:r>
              <a:rPr kumimoji="0" lang="en-US" kern="0" dirty="0"/>
              <a:t>Second level</a:t>
            </a:r>
          </a:p>
          <a:p>
            <a:pPr lvl="2"/>
            <a:r>
              <a:rPr kumimoji="0" lang="en-US" kern="0" dirty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1" y="0"/>
            <a:ext cx="5651500" cy="18466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600" dirty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6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8671460" y="6516002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741907" y="6517641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Полилиния 6"/>
          <p:cNvSpPr/>
          <p:nvPr userDrawn="1"/>
        </p:nvSpPr>
        <p:spPr>
          <a:xfrm>
            <a:off x="1475658" y="214290"/>
            <a:ext cx="7668344" cy="414000"/>
          </a:xfrm>
          <a:custGeom>
            <a:avLst/>
            <a:gdLst>
              <a:gd name="connsiteX0" fmla="*/ 0 w 5786446"/>
              <a:gd name="connsiteY0" fmla="*/ 0 h 428628"/>
              <a:gd name="connsiteX1" fmla="*/ 5786446 w 5786446"/>
              <a:gd name="connsiteY1" fmla="*/ 0 h 428628"/>
              <a:gd name="connsiteX2" fmla="*/ 5786446 w 5786446"/>
              <a:gd name="connsiteY2" fmla="*/ 428628 h 428628"/>
              <a:gd name="connsiteX3" fmla="*/ 0 w 5786446"/>
              <a:gd name="connsiteY3" fmla="*/ 428628 h 428628"/>
              <a:gd name="connsiteX4" fmla="*/ 0 w 5786446"/>
              <a:gd name="connsiteY4" fmla="*/ 0 h 428628"/>
              <a:gd name="connsiteX0" fmla="*/ 214282 w 5786446"/>
              <a:gd name="connsiteY0" fmla="*/ 0 h 428628"/>
              <a:gd name="connsiteX1" fmla="*/ 5786446 w 5786446"/>
              <a:gd name="connsiteY1" fmla="*/ 0 h 428628"/>
              <a:gd name="connsiteX2" fmla="*/ 5786446 w 5786446"/>
              <a:gd name="connsiteY2" fmla="*/ 428628 h 428628"/>
              <a:gd name="connsiteX3" fmla="*/ 0 w 5786446"/>
              <a:gd name="connsiteY3" fmla="*/ 428628 h 428628"/>
              <a:gd name="connsiteX4" fmla="*/ 214282 w 5786446"/>
              <a:gd name="connsiteY4" fmla="*/ 0 h 428628"/>
              <a:gd name="connsiteX0" fmla="*/ 214282 w 5786446"/>
              <a:gd name="connsiteY0" fmla="*/ 0 h 428628"/>
              <a:gd name="connsiteX1" fmla="*/ 5786446 w 5786446"/>
              <a:gd name="connsiteY1" fmla="*/ 0 h 428628"/>
              <a:gd name="connsiteX2" fmla="*/ 5786446 w 5786446"/>
              <a:gd name="connsiteY2" fmla="*/ 428628 h 428628"/>
              <a:gd name="connsiteX3" fmla="*/ 0 w 5786446"/>
              <a:gd name="connsiteY3" fmla="*/ 428628 h 428628"/>
              <a:gd name="connsiteX4" fmla="*/ 214282 w 5786446"/>
              <a:gd name="connsiteY4" fmla="*/ 0 h 428628"/>
              <a:gd name="connsiteX0" fmla="*/ 357126 w 5786446"/>
              <a:gd name="connsiteY0" fmla="*/ 0 h 428628"/>
              <a:gd name="connsiteX1" fmla="*/ 5786446 w 5786446"/>
              <a:gd name="connsiteY1" fmla="*/ 0 h 428628"/>
              <a:gd name="connsiteX2" fmla="*/ 5786446 w 5786446"/>
              <a:gd name="connsiteY2" fmla="*/ 428628 h 428628"/>
              <a:gd name="connsiteX3" fmla="*/ 0 w 5786446"/>
              <a:gd name="connsiteY3" fmla="*/ 428628 h 428628"/>
              <a:gd name="connsiteX4" fmla="*/ 357126 w 5786446"/>
              <a:gd name="connsiteY4" fmla="*/ 0 h 428628"/>
              <a:gd name="connsiteX0" fmla="*/ 214218 w 5786446"/>
              <a:gd name="connsiteY0" fmla="*/ 0 h 428628"/>
              <a:gd name="connsiteX1" fmla="*/ 5786446 w 5786446"/>
              <a:gd name="connsiteY1" fmla="*/ 0 h 428628"/>
              <a:gd name="connsiteX2" fmla="*/ 5786446 w 5786446"/>
              <a:gd name="connsiteY2" fmla="*/ 428628 h 428628"/>
              <a:gd name="connsiteX3" fmla="*/ 0 w 5786446"/>
              <a:gd name="connsiteY3" fmla="*/ 428628 h 428628"/>
              <a:gd name="connsiteX4" fmla="*/ 214218 w 5786446"/>
              <a:gd name="connsiteY4" fmla="*/ 0 h 428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86446" h="428628">
                <a:moveTo>
                  <a:pt x="214218" y="0"/>
                </a:moveTo>
                <a:lnTo>
                  <a:pt x="5786446" y="0"/>
                </a:lnTo>
                <a:lnTo>
                  <a:pt x="5786446" y="428628"/>
                </a:lnTo>
                <a:lnTo>
                  <a:pt x="0" y="428628"/>
                </a:lnTo>
                <a:lnTo>
                  <a:pt x="214218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59" tIns="34229" rIns="68459" bIns="34229" rtlCol="0" anchor="ctr"/>
          <a:lstStyle/>
          <a:p>
            <a:pPr algn="ctr"/>
            <a:endParaRPr lang="ru-RU" sz="1350" dirty="0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959" y="91087"/>
            <a:ext cx="935708" cy="6604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62258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75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71450" indent="-1350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3376D9"/>
        </a:buClr>
        <a:buSzPct val="150000"/>
        <a:buFont typeface="Arial" pitchFamily="34" charset="0"/>
        <a:buChar char="•"/>
        <a:defRPr sz="900">
          <a:solidFill>
            <a:schemeClr val="tx1"/>
          </a:solidFill>
          <a:latin typeface="+mn-lt"/>
          <a:ea typeface="+mn-ea"/>
          <a:cs typeface="+mn-cs"/>
        </a:defRPr>
      </a:lvl1pPr>
      <a:lvl2pPr marL="324000" indent="-1350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accent6"/>
        </a:buClr>
        <a:buSzPct val="125000"/>
        <a:buFont typeface="Arial" pitchFamily="34" charset="0"/>
        <a:buChar char="•"/>
        <a:defRPr sz="825">
          <a:solidFill>
            <a:schemeClr val="tx1"/>
          </a:solidFill>
          <a:latin typeface="+mn-lt"/>
          <a:cs typeface="+mn-cs"/>
        </a:defRPr>
      </a:lvl2pPr>
      <a:lvl3pPr marL="540000" indent="-1350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bg2"/>
        </a:buClr>
        <a:buSzPct val="100000"/>
        <a:buFont typeface="Arial" pitchFamily="34" charset="0"/>
        <a:buChar char="•"/>
        <a:defRPr sz="825" baseline="0">
          <a:solidFill>
            <a:schemeClr val="tx1"/>
          </a:solidFill>
          <a:latin typeface="+mn-lt"/>
          <a:cs typeface="+mn-cs"/>
        </a:defRPr>
      </a:lvl3pPr>
      <a:lvl4pPr marL="946547" indent="-21193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200">
          <a:solidFill>
            <a:schemeClr val="tx1"/>
          </a:solidFill>
          <a:latin typeface="+mn-lt"/>
          <a:cs typeface="+mn-cs"/>
        </a:defRPr>
      </a:lvl4pPr>
      <a:lvl5pPr marL="11299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4728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18157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1586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5015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52074446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15" name="think-cell Slide" r:id="rId11" imgW="270" imgH="270" progId="">
                  <p:embed/>
                </p:oleObj>
              </mc:Choice>
              <mc:Fallback>
                <p:oleObj name="think-cell Slide" r:id="rId11" imgW="270" imgH="270" progId="">
                  <p:embed/>
                  <p:pic>
                    <p:nvPicPr>
                      <p:cNvPr id="0" name="Picture 17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58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1" y="0"/>
            <a:ext cx="5651500" cy="18466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600" dirty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6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2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1" y="652112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8353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90" r:id="rId6"/>
    <p:sldLayoutId id="2147483791" r:id="rId7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75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92881" indent="-192881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3"/>
        </a:buBlip>
        <a:defRPr sz="900">
          <a:solidFill>
            <a:schemeClr val="tx1"/>
          </a:solidFill>
          <a:latin typeface="+mn-lt"/>
          <a:ea typeface="+mn-ea"/>
          <a:cs typeface="+mn-cs"/>
        </a:defRPr>
      </a:lvl1pPr>
      <a:lvl2pPr marL="511969" indent="-31789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4"/>
        </a:buBlip>
        <a:defRPr sz="825">
          <a:solidFill>
            <a:schemeClr val="tx1"/>
          </a:solidFill>
          <a:latin typeface="+mn-lt"/>
          <a:cs typeface="+mn-cs"/>
        </a:defRPr>
      </a:lvl2pPr>
      <a:lvl3pPr marL="733425" indent="-2202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825">
          <a:solidFill>
            <a:schemeClr val="tx1"/>
          </a:solidFill>
          <a:latin typeface="+mn-lt"/>
          <a:cs typeface="+mn-cs"/>
        </a:defRPr>
      </a:lvl3pPr>
      <a:lvl4pPr marL="946547" indent="-21193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200">
          <a:solidFill>
            <a:schemeClr val="tx1"/>
          </a:solidFill>
          <a:latin typeface="+mn-lt"/>
          <a:cs typeface="+mn-cs"/>
        </a:defRPr>
      </a:lvl4pPr>
      <a:lvl5pPr marL="11299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4728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18157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1586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5015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530614885"/>
              </p:ext>
            </p:extLst>
          </p:nvPr>
        </p:nvGraphicFramePr>
        <p:xfrm>
          <a:off x="159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39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Picture 17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60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68567" tIns="34284" rIns="68567" bIns="34284"/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2"/>
            <a:ext cx="5651500" cy="161571"/>
          </a:xfrm>
          <a:prstGeom prst="rect">
            <a:avLst/>
          </a:prstGeom>
          <a:noFill/>
        </p:spPr>
        <p:txBody>
          <a:bodyPr vert="horz" lIns="68567" tIns="34284" rIns="68567" bIns="34284" rtlCol="0">
            <a:spAutoFit/>
          </a:bodyPr>
          <a:lstStyle/>
          <a:p>
            <a:pPr defTabSz="684477"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600" dirty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6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4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422" tIns="45712" rIns="91422" bIns="45712"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pPr defTabSz="684477"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defTabSz="6844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528636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9" r:id="rId6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75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5pPr>
      <a:lvl6pPr marL="34283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6pPr>
      <a:lvl7pPr marL="68567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7pPr>
      <a:lvl8pPr marL="102851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8pPr>
      <a:lvl9pPr marL="1371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92846" indent="-192846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2"/>
        </a:buBlip>
        <a:defRPr sz="900">
          <a:solidFill>
            <a:schemeClr val="tx1"/>
          </a:solidFill>
          <a:latin typeface="+mn-lt"/>
          <a:ea typeface="+mn-ea"/>
          <a:cs typeface="+mn-cs"/>
        </a:defRPr>
      </a:lvl1pPr>
      <a:lvl2pPr marL="511874" indent="-31783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3"/>
        </a:buBlip>
        <a:defRPr sz="825">
          <a:solidFill>
            <a:schemeClr val="tx1"/>
          </a:solidFill>
          <a:latin typeface="+mn-lt"/>
          <a:cs typeface="+mn-cs"/>
        </a:defRPr>
      </a:lvl2pPr>
      <a:lvl3pPr marL="733290" indent="-22022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825">
          <a:solidFill>
            <a:schemeClr val="tx1"/>
          </a:solidFill>
          <a:latin typeface="+mn-lt"/>
          <a:cs typeface="+mn-cs"/>
        </a:defRPr>
      </a:lvl3pPr>
      <a:lvl4pPr marL="946373" indent="-21189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200">
          <a:solidFill>
            <a:schemeClr val="tx1"/>
          </a:solidFill>
          <a:latin typeface="+mn-lt"/>
          <a:cs typeface="+mn-cs"/>
        </a:defRPr>
      </a:lvl4pPr>
      <a:lvl5pPr marL="1129695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472532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1815371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158206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501043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37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74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11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47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185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21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58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696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467547332"/>
              </p:ext>
            </p:extLst>
          </p:nvPr>
        </p:nvGraphicFramePr>
        <p:xfrm>
          <a:off x="159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62" name="think-cell Slide" r:id="rId11" imgW="270" imgH="270" progId="">
                  <p:embed/>
                </p:oleObj>
              </mc:Choice>
              <mc:Fallback>
                <p:oleObj name="think-cell Slide" r:id="rId11" imgW="270" imgH="270" progId="">
                  <p:embed/>
                  <p:pic>
                    <p:nvPicPr>
                      <p:cNvPr id="0" name="Picture 17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60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68567" tIns="34284" rIns="68567" bIns="34284"/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2"/>
            <a:ext cx="5651500" cy="161571"/>
          </a:xfrm>
          <a:prstGeom prst="rect">
            <a:avLst/>
          </a:prstGeom>
          <a:noFill/>
        </p:spPr>
        <p:txBody>
          <a:bodyPr vert="horz" lIns="68567" tIns="34284" rIns="68567" bIns="34284" rtlCol="0">
            <a:spAutoFit/>
          </a:bodyPr>
          <a:lstStyle/>
          <a:p>
            <a:pPr defTabSz="684477"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600" dirty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6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4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422" tIns="45712" rIns="91422" bIns="45712"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pPr defTabSz="684477"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defTabSz="6844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327555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7" r:id="rId6"/>
    <p:sldLayoutId id="2147483808" r:id="rId7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75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5pPr>
      <a:lvl6pPr marL="34283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6pPr>
      <a:lvl7pPr marL="68567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7pPr>
      <a:lvl8pPr marL="102851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8pPr>
      <a:lvl9pPr marL="1371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92846" indent="-192846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3"/>
        </a:buBlip>
        <a:defRPr sz="900">
          <a:solidFill>
            <a:schemeClr val="tx1"/>
          </a:solidFill>
          <a:latin typeface="+mn-lt"/>
          <a:ea typeface="+mn-ea"/>
          <a:cs typeface="+mn-cs"/>
        </a:defRPr>
      </a:lvl1pPr>
      <a:lvl2pPr marL="511874" indent="-31783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4"/>
        </a:buBlip>
        <a:defRPr sz="825">
          <a:solidFill>
            <a:schemeClr val="tx1"/>
          </a:solidFill>
          <a:latin typeface="+mn-lt"/>
          <a:cs typeface="+mn-cs"/>
        </a:defRPr>
      </a:lvl2pPr>
      <a:lvl3pPr marL="733290" indent="-22022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825">
          <a:solidFill>
            <a:schemeClr val="tx1"/>
          </a:solidFill>
          <a:latin typeface="+mn-lt"/>
          <a:cs typeface="+mn-cs"/>
        </a:defRPr>
      </a:lvl3pPr>
      <a:lvl4pPr marL="946373" indent="-21189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200">
          <a:solidFill>
            <a:schemeClr val="tx1"/>
          </a:solidFill>
          <a:latin typeface="+mn-lt"/>
          <a:cs typeface="+mn-cs"/>
        </a:defRPr>
      </a:lvl4pPr>
      <a:lvl5pPr marL="1129695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472532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1815371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158206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501043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37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74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11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47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185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21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58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696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775213877"/>
              </p:ext>
            </p:extLst>
          </p:nvPr>
        </p:nvGraphicFramePr>
        <p:xfrm>
          <a:off x="159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85" name="think-cell Slide" r:id="rId11" imgW="270" imgH="270" progId="">
                  <p:embed/>
                </p:oleObj>
              </mc:Choice>
              <mc:Fallback>
                <p:oleObj name="think-cell Slide" r:id="rId11" imgW="270" imgH="270" progId="">
                  <p:embed/>
                  <p:pic>
                    <p:nvPicPr>
                      <p:cNvPr id="0" name="Picture 17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60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68567" tIns="34284" rIns="68567" bIns="34284"/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2"/>
            <a:ext cx="5651500" cy="161571"/>
          </a:xfrm>
          <a:prstGeom prst="rect">
            <a:avLst/>
          </a:prstGeom>
          <a:noFill/>
        </p:spPr>
        <p:txBody>
          <a:bodyPr vert="horz" lIns="68567" tIns="34284" rIns="68567" bIns="34284" rtlCol="0">
            <a:spAutoFit/>
          </a:bodyPr>
          <a:lstStyle/>
          <a:p>
            <a:pPr defTabSz="684477"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600" dirty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6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4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422" tIns="45712" rIns="91422" bIns="45712"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pPr defTabSz="684477"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defTabSz="6844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913000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6" r:id="rId6"/>
    <p:sldLayoutId id="2147483817" r:id="rId7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75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5pPr>
      <a:lvl6pPr marL="34283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6pPr>
      <a:lvl7pPr marL="68567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7pPr>
      <a:lvl8pPr marL="102851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8pPr>
      <a:lvl9pPr marL="1371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92846" indent="-192846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3"/>
        </a:buBlip>
        <a:defRPr sz="900">
          <a:solidFill>
            <a:schemeClr val="tx1"/>
          </a:solidFill>
          <a:latin typeface="+mn-lt"/>
          <a:ea typeface="+mn-ea"/>
          <a:cs typeface="+mn-cs"/>
        </a:defRPr>
      </a:lvl1pPr>
      <a:lvl2pPr marL="511874" indent="-31783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4"/>
        </a:buBlip>
        <a:defRPr sz="825">
          <a:solidFill>
            <a:schemeClr val="tx1"/>
          </a:solidFill>
          <a:latin typeface="+mn-lt"/>
          <a:cs typeface="+mn-cs"/>
        </a:defRPr>
      </a:lvl2pPr>
      <a:lvl3pPr marL="733290" indent="-22022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825">
          <a:solidFill>
            <a:schemeClr val="tx1"/>
          </a:solidFill>
          <a:latin typeface="+mn-lt"/>
          <a:cs typeface="+mn-cs"/>
        </a:defRPr>
      </a:lvl3pPr>
      <a:lvl4pPr marL="946373" indent="-21189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200">
          <a:solidFill>
            <a:schemeClr val="tx1"/>
          </a:solidFill>
          <a:latin typeface="+mn-lt"/>
          <a:cs typeface="+mn-cs"/>
        </a:defRPr>
      </a:lvl4pPr>
      <a:lvl5pPr marL="1129695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472532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1815371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158206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501043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37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74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11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47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185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21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58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696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85608129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173" name="think-cell Slide" r:id="rId12" imgW="270" imgH="270" progId="">
                  <p:embed/>
                </p:oleObj>
              </mc:Choice>
              <mc:Fallback>
                <p:oleObj name="think-cell Slide" r:id="rId12" imgW="270" imgH="270" progId="">
                  <p:embed/>
                  <p:pic>
                    <p:nvPicPr>
                      <p:cNvPr id="0" name="Picture 16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58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1" y="0"/>
            <a:ext cx="5651500" cy="18466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600" dirty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6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2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1" y="652112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4156319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6" r:id="rId6"/>
    <p:sldLayoutId id="2147483827" r:id="rId7"/>
    <p:sldLayoutId id="2147483828" r:id="rId8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75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92881" indent="-192881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4"/>
        </a:buBlip>
        <a:defRPr sz="900">
          <a:solidFill>
            <a:schemeClr val="tx1"/>
          </a:solidFill>
          <a:latin typeface="+mn-lt"/>
          <a:ea typeface="+mn-ea"/>
          <a:cs typeface="+mn-cs"/>
        </a:defRPr>
      </a:lvl1pPr>
      <a:lvl2pPr marL="511969" indent="-31789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5"/>
        </a:buBlip>
        <a:defRPr sz="825">
          <a:solidFill>
            <a:schemeClr val="tx1"/>
          </a:solidFill>
          <a:latin typeface="+mn-lt"/>
          <a:cs typeface="+mn-cs"/>
        </a:defRPr>
      </a:lvl2pPr>
      <a:lvl3pPr marL="733425" indent="-2202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825">
          <a:solidFill>
            <a:schemeClr val="tx1"/>
          </a:solidFill>
          <a:latin typeface="+mn-lt"/>
          <a:cs typeface="+mn-cs"/>
        </a:defRPr>
      </a:lvl3pPr>
      <a:lvl4pPr marL="946547" indent="-21193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200">
          <a:solidFill>
            <a:schemeClr val="tx1"/>
          </a:solidFill>
          <a:latin typeface="+mn-lt"/>
          <a:cs typeface="+mn-cs"/>
        </a:defRPr>
      </a:lvl4pPr>
      <a:lvl5pPr marL="11299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4728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18157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1586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5015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59679035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150" name="think-cell Slide" r:id="rId12" imgW="270" imgH="270" progId="">
                  <p:embed/>
                </p:oleObj>
              </mc:Choice>
              <mc:Fallback>
                <p:oleObj name="think-cell Slide" r:id="rId12" imgW="270" imgH="270" progId="">
                  <p:embed/>
                  <p:pic>
                    <p:nvPicPr>
                      <p:cNvPr id="0" name="Picture 16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58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1" y="0"/>
            <a:ext cx="5651500" cy="18466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600" dirty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6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2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1" y="652112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4119146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6" r:id="rId6"/>
    <p:sldLayoutId id="2147483837" r:id="rId7"/>
    <p:sldLayoutId id="2147483838" r:id="rId8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75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92881" indent="-192881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4"/>
        </a:buBlip>
        <a:defRPr sz="900">
          <a:solidFill>
            <a:schemeClr val="tx1"/>
          </a:solidFill>
          <a:latin typeface="+mn-lt"/>
          <a:ea typeface="+mn-ea"/>
          <a:cs typeface="+mn-cs"/>
        </a:defRPr>
      </a:lvl1pPr>
      <a:lvl2pPr marL="511969" indent="-31789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5"/>
        </a:buBlip>
        <a:defRPr sz="825">
          <a:solidFill>
            <a:schemeClr val="tx1"/>
          </a:solidFill>
          <a:latin typeface="+mn-lt"/>
          <a:cs typeface="+mn-cs"/>
        </a:defRPr>
      </a:lvl2pPr>
      <a:lvl3pPr marL="733425" indent="-2202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825">
          <a:solidFill>
            <a:schemeClr val="tx1"/>
          </a:solidFill>
          <a:latin typeface="+mn-lt"/>
          <a:cs typeface="+mn-cs"/>
        </a:defRPr>
      </a:lvl3pPr>
      <a:lvl4pPr marL="946547" indent="-21193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200">
          <a:solidFill>
            <a:schemeClr val="tx1"/>
          </a:solidFill>
          <a:latin typeface="+mn-lt"/>
          <a:cs typeface="+mn-cs"/>
        </a:defRPr>
      </a:lvl4pPr>
      <a:lvl5pPr marL="11299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4728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18157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1586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5015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6715301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844" name="think-cell Slide" r:id="rId12" imgW="270" imgH="270" progId="">
                  <p:embed/>
                </p:oleObj>
              </mc:Choice>
              <mc:Fallback>
                <p:oleObj name="think-cell Slide" r:id="rId12" imgW="270" imgH="270" progId="">
                  <p:embed/>
                  <p:pic>
                    <p:nvPicPr>
                      <p:cNvPr id="0" name="Picture 12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58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1" y="0"/>
            <a:ext cx="5651500" cy="18466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600" dirty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6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2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1" y="652112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967256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2" r:id="rId6"/>
    <p:sldLayoutId id="2147483853" r:id="rId7"/>
    <p:sldLayoutId id="2147483854" r:id="rId8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75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92881" indent="-192881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4"/>
        </a:buBlip>
        <a:defRPr sz="900">
          <a:solidFill>
            <a:schemeClr val="tx1"/>
          </a:solidFill>
          <a:latin typeface="+mn-lt"/>
          <a:ea typeface="+mn-ea"/>
          <a:cs typeface="+mn-cs"/>
        </a:defRPr>
      </a:lvl1pPr>
      <a:lvl2pPr marL="511969" indent="-31789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5"/>
        </a:buBlip>
        <a:defRPr sz="825">
          <a:solidFill>
            <a:schemeClr val="tx1"/>
          </a:solidFill>
          <a:latin typeface="+mn-lt"/>
          <a:cs typeface="+mn-cs"/>
        </a:defRPr>
      </a:lvl2pPr>
      <a:lvl3pPr marL="733425" indent="-2202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825">
          <a:solidFill>
            <a:schemeClr val="tx1"/>
          </a:solidFill>
          <a:latin typeface="+mn-lt"/>
          <a:cs typeface="+mn-cs"/>
        </a:defRPr>
      </a:lvl3pPr>
      <a:lvl4pPr marL="946547" indent="-21193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200">
          <a:solidFill>
            <a:schemeClr val="tx1"/>
          </a:solidFill>
          <a:latin typeface="+mn-lt"/>
          <a:cs typeface="+mn-cs"/>
        </a:defRPr>
      </a:lvl4pPr>
      <a:lvl5pPr marL="11299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4728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18157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1586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5015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921093099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12" name="think-cell Slide" r:id="rId13" imgW="270" imgH="270" progId="">
                  <p:embed/>
                </p:oleObj>
              </mc:Choice>
              <mc:Fallback>
                <p:oleObj name="think-cell Slide" r:id="rId13" imgW="270" imgH="270" progId="">
                  <p:embed/>
                  <p:pic>
                    <p:nvPicPr>
                      <p:cNvPr id="0" name="Picture 12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58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1" y="0"/>
            <a:ext cx="5651500" cy="18466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600" dirty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6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2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1" y="652112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403695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3" r:id="rId6"/>
    <p:sldLayoutId id="2147483864" r:id="rId7"/>
    <p:sldLayoutId id="2147483865" r:id="rId8"/>
    <p:sldLayoutId id="2147483866" r:id="rId9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75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92881" indent="-192881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5"/>
        </a:buBlip>
        <a:defRPr sz="900">
          <a:solidFill>
            <a:schemeClr val="tx1"/>
          </a:solidFill>
          <a:latin typeface="+mn-lt"/>
          <a:ea typeface="+mn-ea"/>
          <a:cs typeface="+mn-cs"/>
        </a:defRPr>
      </a:lvl1pPr>
      <a:lvl2pPr marL="511969" indent="-31789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6"/>
        </a:buBlip>
        <a:defRPr sz="825">
          <a:solidFill>
            <a:schemeClr val="tx1"/>
          </a:solidFill>
          <a:latin typeface="+mn-lt"/>
          <a:cs typeface="+mn-cs"/>
        </a:defRPr>
      </a:lvl2pPr>
      <a:lvl3pPr marL="733425" indent="-2202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825">
          <a:solidFill>
            <a:schemeClr val="tx1"/>
          </a:solidFill>
          <a:latin typeface="+mn-lt"/>
          <a:cs typeface="+mn-cs"/>
        </a:defRPr>
      </a:lvl3pPr>
      <a:lvl4pPr marL="946547" indent="-21193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200">
          <a:solidFill>
            <a:schemeClr val="tx1"/>
          </a:solidFill>
          <a:latin typeface="+mn-lt"/>
          <a:cs typeface="+mn-cs"/>
        </a:defRPr>
      </a:lvl4pPr>
      <a:lvl5pPr marL="11299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4728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18157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1586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5015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375214595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51" name="think-cell Slide" r:id="rId13" imgW="270" imgH="270" progId="">
                  <p:embed/>
                </p:oleObj>
              </mc:Choice>
              <mc:Fallback>
                <p:oleObj name="think-cell Slide" r:id="rId13" imgW="270" imgH="270" progId="">
                  <p:embed/>
                  <p:pic>
                    <p:nvPicPr>
                      <p:cNvPr id="0" name="Picture 12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58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1" y="0"/>
            <a:ext cx="5651500" cy="18466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600" dirty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6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2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1" y="652112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4083782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4" r:id="rId6"/>
    <p:sldLayoutId id="2147483875" r:id="rId7"/>
    <p:sldLayoutId id="2147483876" r:id="rId8"/>
    <p:sldLayoutId id="2147483877" r:id="rId9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75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92881" indent="-192881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5"/>
        </a:buBlip>
        <a:defRPr sz="900">
          <a:solidFill>
            <a:schemeClr val="tx1"/>
          </a:solidFill>
          <a:latin typeface="+mn-lt"/>
          <a:ea typeface="+mn-ea"/>
          <a:cs typeface="+mn-cs"/>
        </a:defRPr>
      </a:lvl1pPr>
      <a:lvl2pPr marL="511969" indent="-31789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6"/>
        </a:buBlip>
        <a:defRPr sz="825">
          <a:solidFill>
            <a:schemeClr val="tx1"/>
          </a:solidFill>
          <a:latin typeface="+mn-lt"/>
          <a:cs typeface="+mn-cs"/>
        </a:defRPr>
      </a:lvl2pPr>
      <a:lvl3pPr marL="733425" indent="-2202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825">
          <a:solidFill>
            <a:schemeClr val="tx1"/>
          </a:solidFill>
          <a:latin typeface="+mn-lt"/>
          <a:cs typeface="+mn-cs"/>
        </a:defRPr>
      </a:lvl3pPr>
      <a:lvl4pPr marL="946547" indent="-21193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200">
          <a:solidFill>
            <a:schemeClr val="tx1"/>
          </a:solidFill>
          <a:latin typeface="+mn-lt"/>
          <a:cs typeface="+mn-cs"/>
        </a:defRPr>
      </a:lvl4pPr>
      <a:lvl5pPr marL="11299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4728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18157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1586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5015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55581165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72" name="think-cell Slide" r:id="rId13" imgW="270" imgH="270" progId="">
                  <p:embed/>
                </p:oleObj>
              </mc:Choice>
              <mc:Fallback>
                <p:oleObj name="think-cell Slide" r:id="rId13" imgW="270" imgH="270" progId="">
                  <p:embed/>
                  <p:pic>
                    <p:nvPicPr>
                      <p:cNvPr id="0" name="Picture 1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58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1" y="0"/>
            <a:ext cx="5651500" cy="18466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600" dirty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6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2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1" y="652112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750097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9" r:id="rId1"/>
    <p:sldLayoutId id="2147483880" r:id="rId2"/>
    <p:sldLayoutId id="2147483881" r:id="rId3"/>
    <p:sldLayoutId id="2147483882" r:id="rId4"/>
    <p:sldLayoutId id="2147483883" r:id="rId5"/>
    <p:sldLayoutId id="2147483885" r:id="rId6"/>
    <p:sldLayoutId id="2147483886" r:id="rId7"/>
    <p:sldLayoutId id="2147483887" r:id="rId8"/>
    <p:sldLayoutId id="2147483888" r:id="rId9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75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92881" indent="-192881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5"/>
        </a:buBlip>
        <a:defRPr sz="900">
          <a:solidFill>
            <a:schemeClr val="tx1"/>
          </a:solidFill>
          <a:latin typeface="+mn-lt"/>
          <a:ea typeface="+mn-ea"/>
          <a:cs typeface="+mn-cs"/>
        </a:defRPr>
      </a:lvl1pPr>
      <a:lvl2pPr marL="511969" indent="-31789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6"/>
        </a:buBlip>
        <a:defRPr sz="825">
          <a:solidFill>
            <a:schemeClr val="tx1"/>
          </a:solidFill>
          <a:latin typeface="+mn-lt"/>
          <a:cs typeface="+mn-cs"/>
        </a:defRPr>
      </a:lvl2pPr>
      <a:lvl3pPr marL="733425" indent="-2202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825">
          <a:solidFill>
            <a:schemeClr val="tx1"/>
          </a:solidFill>
          <a:latin typeface="+mn-lt"/>
          <a:cs typeface="+mn-cs"/>
        </a:defRPr>
      </a:lvl3pPr>
      <a:lvl4pPr marL="946547" indent="-21193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200">
          <a:solidFill>
            <a:schemeClr val="tx1"/>
          </a:solidFill>
          <a:latin typeface="+mn-lt"/>
          <a:cs typeface="+mn-cs"/>
        </a:defRPr>
      </a:lvl4pPr>
      <a:lvl5pPr marL="11299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4728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18157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1586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5015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250125237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75" name="think-cell Slide" r:id="rId11" imgW="270" imgH="270" progId="">
                  <p:embed/>
                </p:oleObj>
              </mc:Choice>
              <mc:Fallback>
                <p:oleObj name="think-cell Slide" r:id="rId11" imgW="270" imgH="270" progId="">
                  <p:embed/>
                  <p:pic>
                    <p:nvPicPr>
                      <p:cNvPr id="0" name="Picture 17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58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1" y="0"/>
            <a:ext cx="5651500" cy="18466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600" dirty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6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2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1" y="652112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990963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30" r:id="rId6"/>
    <p:sldLayoutId id="2147483731" r:id="rId7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75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92881" indent="-192881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3"/>
        </a:buBlip>
        <a:defRPr sz="900">
          <a:solidFill>
            <a:schemeClr val="tx1"/>
          </a:solidFill>
          <a:latin typeface="+mn-lt"/>
          <a:ea typeface="+mn-ea"/>
          <a:cs typeface="+mn-cs"/>
        </a:defRPr>
      </a:lvl1pPr>
      <a:lvl2pPr marL="511969" indent="-31789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4"/>
        </a:buBlip>
        <a:defRPr sz="825">
          <a:solidFill>
            <a:schemeClr val="tx1"/>
          </a:solidFill>
          <a:latin typeface="+mn-lt"/>
          <a:cs typeface="+mn-cs"/>
        </a:defRPr>
      </a:lvl2pPr>
      <a:lvl3pPr marL="733425" indent="-2202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825">
          <a:solidFill>
            <a:schemeClr val="tx1"/>
          </a:solidFill>
          <a:latin typeface="+mn-lt"/>
          <a:cs typeface="+mn-cs"/>
        </a:defRPr>
      </a:lvl3pPr>
      <a:lvl4pPr marL="946547" indent="-21193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200">
          <a:solidFill>
            <a:schemeClr val="tx1"/>
          </a:solidFill>
          <a:latin typeface="+mn-lt"/>
          <a:cs typeface="+mn-cs"/>
        </a:defRPr>
      </a:lvl4pPr>
      <a:lvl5pPr marL="11299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4728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18157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1586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5015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86967486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91" name="think-cell Slide" r:id="rId13" imgW="270" imgH="270" progId="">
                  <p:embed/>
                </p:oleObj>
              </mc:Choice>
              <mc:Fallback>
                <p:oleObj name="think-cell Slide" r:id="rId13" imgW="270" imgH="270" progId="">
                  <p:embed/>
                  <p:pic>
                    <p:nvPicPr>
                      <p:cNvPr id="0" name="Picture 12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58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1" y="0"/>
            <a:ext cx="5651500" cy="18466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600" dirty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6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2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1" y="652112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66204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2" r:id="rId3"/>
    <p:sldLayoutId id="2147483893" r:id="rId4"/>
    <p:sldLayoutId id="2147483894" r:id="rId5"/>
    <p:sldLayoutId id="2147483896" r:id="rId6"/>
    <p:sldLayoutId id="2147483897" r:id="rId7"/>
    <p:sldLayoutId id="2147483898" r:id="rId8"/>
    <p:sldLayoutId id="2147483899" r:id="rId9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75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92881" indent="-192881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5"/>
        </a:buBlip>
        <a:defRPr sz="900">
          <a:solidFill>
            <a:schemeClr val="tx1"/>
          </a:solidFill>
          <a:latin typeface="+mn-lt"/>
          <a:ea typeface="+mn-ea"/>
          <a:cs typeface="+mn-cs"/>
        </a:defRPr>
      </a:lvl1pPr>
      <a:lvl2pPr marL="511969" indent="-31789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6"/>
        </a:buBlip>
        <a:defRPr sz="825">
          <a:solidFill>
            <a:schemeClr val="tx1"/>
          </a:solidFill>
          <a:latin typeface="+mn-lt"/>
          <a:cs typeface="+mn-cs"/>
        </a:defRPr>
      </a:lvl2pPr>
      <a:lvl3pPr marL="733425" indent="-2202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825">
          <a:solidFill>
            <a:schemeClr val="tx1"/>
          </a:solidFill>
          <a:latin typeface="+mn-lt"/>
          <a:cs typeface="+mn-cs"/>
        </a:defRPr>
      </a:lvl3pPr>
      <a:lvl4pPr marL="946547" indent="-21193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200">
          <a:solidFill>
            <a:schemeClr val="tx1"/>
          </a:solidFill>
          <a:latin typeface="+mn-lt"/>
          <a:cs typeface="+mn-cs"/>
        </a:defRPr>
      </a:lvl4pPr>
      <a:lvl5pPr marL="11299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4728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18157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1586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5015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15" name="think-cell Slide" r:id="rId11" imgW="270" imgH="270" progId="">
                  <p:embed/>
                </p:oleObj>
              </mc:Choice>
              <mc:Fallback>
                <p:oleObj name="think-cell Slide" r:id="rId11" imgW="270" imgH="270" progId="">
                  <p:embed/>
                  <p:pic>
                    <p:nvPicPr>
                      <p:cNvPr id="0" name="Picture 1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58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1" y="0"/>
            <a:ext cx="5651500" cy="18466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600" dirty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6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2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1" y="652112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918991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  <p:sldLayoutId id="2147483907" r:id="rId6"/>
    <p:sldLayoutId id="2147483981" r:id="rId7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75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92881" indent="-192881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3"/>
        </a:buBlip>
        <a:defRPr sz="900">
          <a:solidFill>
            <a:schemeClr val="tx1"/>
          </a:solidFill>
          <a:latin typeface="+mn-lt"/>
          <a:ea typeface="+mn-ea"/>
          <a:cs typeface="+mn-cs"/>
        </a:defRPr>
      </a:lvl1pPr>
      <a:lvl2pPr marL="511969" indent="-31789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4"/>
        </a:buBlip>
        <a:defRPr sz="825">
          <a:solidFill>
            <a:schemeClr val="tx1"/>
          </a:solidFill>
          <a:latin typeface="+mn-lt"/>
          <a:cs typeface="+mn-cs"/>
        </a:defRPr>
      </a:lvl2pPr>
      <a:lvl3pPr marL="733425" indent="-2202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825">
          <a:solidFill>
            <a:schemeClr val="tx1"/>
          </a:solidFill>
          <a:latin typeface="+mn-lt"/>
          <a:cs typeface="+mn-cs"/>
        </a:defRPr>
      </a:lvl3pPr>
      <a:lvl4pPr marL="946547" indent="-21193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200">
          <a:solidFill>
            <a:schemeClr val="tx1"/>
          </a:solidFill>
          <a:latin typeface="+mn-lt"/>
          <a:cs typeface="+mn-cs"/>
        </a:defRPr>
      </a:lvl4pPr>
      <a:lvl5pPr marL="11299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4728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18157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1586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5015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6789093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34" name="think-cell Slide" r:id="rId13" imgW="270" imgH="270" progId="">
                  <p:embed/>
                </p:oleObj>
              </mc:Choice>
              <mc:Fallback>
                <p:oleObj name="think-cell Slide" r:id="rId13" imgW="270" imgH="270" progId="">
                  <p:embed/>
                  <p:pic>
                    <p:nvPicPr>
                      <p:cNvPr id="0" name="Picture 12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58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1" y="0"/>
            <a:ext cx="5651500" cy="18466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600" dirty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6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2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1" y="652112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244804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1" r:id="rId2"/>
    <p:sldLayoutId id="2147483912" r:id="rId3"/>
    <p:sldLayoutId id="2147483913" r:id="rId4"/>
    <p:sldLayoutId id="2147483914" r:id="rId5"/>
    <p:sldLayoutId id="2147483916" r:id="rId6"/>
    <p:sldLayoutId id="2147483917" r:id="rId7"/>
    <p:sldLayoutId id="2147483918" r:id="rId8"/>
    <p:sldLayoutId id="2147483919" r:id="rId9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75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92881" indent="-192881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5"/>
        </a:buBlip>
        <a:defRPr sz="900">
          <a:solidFill>
            <a:schemeClr val="tx1"/>
          </a:solidFill>
          <a:latin typeface="+mn-lt"/>
          <a:ea typeface="+mn-ea"/>
          <a:cs typeface="+mn-cs"/>
        </a:defRPr>
      </a:lvl1pPr>
      <a:lvl2pPr marL="511969" indent="-31789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6"/>
        </a:buBlip>
        <a:defRPr sz="825">
          <a:solidFill>
            <a:schemeClr val="tx1"/>
          </a:solidFill>
          <a:latin typeface="+mn-lt"/>
          <a:cs typeface="+mn-cs"/>
        </a:defRPr>
      </a:lvl2pPr>
      <a:lvl3pPr marL="733425" indent="-2202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825">
          <a:solidFill>
            <a:schemeClr val="tx1"/>
          </a:solidFill>
          <a:latin typeface="+mn-lt"/>
          <a:cs typeface="+mn-cs"/>
        </a:defRPr>
      </a:lvl3pPr>
      <a:lvl4pPr marL="946547" indent="-21193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200">
          <a:solidFill>
            <a:schemeClr val="tx1"/>
          </a:solidFill>
          <a:latin typeface="+mn-lt"/>
          <a:cs typeface="+mn-cs"/>
        </a:defRPr>
      </a:lvl4pPr>
      <a:lvl5pPr marL="11299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4728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18157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1586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5015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442198609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063" name="think-cell Slide" r:id="rId13" imgW="270" imgH="270" progId="">
                  <p:embed/>
                </p:oleObj>
              </mc:Choice>
              <mc:Fallback>
                <p:oleObj name="think-cell Slide" r:id="rId13" imgW="270" imgH="270" progId="">
                  <p:embed/>
                  <p:pic>
                    <p:nvPicPr>
                      <p:cNvPr id="0" name="Picture 12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58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1" y="0"/>
            <a:ext cx="5651500" cy="18466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600" dirty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6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2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1" y="652112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6408777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0" r:id="rId1"/>
    <p:sldLayoutId id="2147483931" r:id="rId2"/>
    <p:sldLayoutId id="2147483932" r:id="rId3"/>
    <p:sldLayoutId id="2147483933" r:id="rId4"/>
    <p:sldLayoutId id="2147483934" r:id="rId5"/>
    <p:sldLayoutId id="2147483936" r:id="rId6"/>
    <p:sldLayoutId id="2147483937" r:id="rId7"/>
    <p:sldLayoutId id="2147483938" r:id="rId8"/>
    <p:sldLayoutId id="2147483939" r:id="rId9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75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92881" indent="-192881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5"/>
        </a:buBlip>
        <a:defRPr sz="900">
          <a:solidFill>
            <a:schemeClr val="tx1"/>
          </a:solidFill>
          <a:latin typeface="+mn-lt"/>
          <a:ea typeface="+mn-ea"/>
          <a:cs typeface="+mn-cs"/>
        </a:defRPr>
      </a:lvl1pPr>
      <a:lvl2pPr marL="511969" indent="-31789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6"/>
        </a:buBlip>
        <a:defRPr sz="825">
          <a:solidFill>
            <a:schemeClr val="tx1"/>
          </a:solidFill>
          <a:latin typeface="+mn-lt"/>
          <a:cs typeface="+mn-cs"/>
        </a:defRPr>
      </a:lvl2pPr>
      <a:lvl3pPr marL="733425" indent="-2202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825">
          <a:solidFill>
            <a:schemeClr val="tx1"/>
          </a:solidFill>
          <a:latin typeface="+mn-lt"/>
          <a:cs typeface="+mn-cs"/>
        </a:defRPr>
      </a:lvl3pPr>
      <a:lvl4pPr marL="946547" indent="-21193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200">
          <a:solidFill>
            <a:schemeClr val="tx1"/>
          </a:solidFill>
          <a:latin typeface="+mn-lt"/>
          <a:cs typeface="+mn-cs"/>
        </a:defRPr>
      </a:lvl4pPr>
      <a:lvl5pPr marL="11299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4728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18157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1586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5015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92723679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87" name="think-cell Slide" r:id="rId13" imgW="270" imgH="270" progId="">
                  <p:embed/>
                </p:oleObj>
              </mc:Choice>
              <mc:Fallback>
                <p:oleObj name="think-cell Slide" r:id="rId13" imgW="270" imgH="270" progId="">
                  <p:embed/>
                  <p:pic>
                    <p:nvPicPr>
                      <p:cNvPr id="0" name="Picture 12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58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1" y="0"/>
            <a:ext cx="5651500" cy="18466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600" dirty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6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2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1" y="652112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321810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3" r:id="rId3"/>
    <p:sldLayoutId id="2147483944" r:id="rId4"/>
    <p:sldLayoutId id="2147483945" r:id="rId5"/>
    <p:sldLayoutId id="2147483947" r:id="rId6"/>
    <p:sldLayoutId id="2147483948" r:id="rId7"/>
    <p:sldLayoutId id="2147483949" r:id="rId8"/>
    <p:sldLayoutId id="2147483950" r:id="rId9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75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92881" indent="-192881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5"/>
        </a:buBlip>
        <a:defRPr sz="900">
          <a:solidFill>
            <a:schemeClr val="tx1"/>
          </a:solidFill>
          <a:latin typeface="+mn-lt"/>
          <a:ea typeface="+mn-ea"/>
          <a:cs typeface="+mn-cs"/>
        </a:defRPr>
      </a:lvl1pPr>
      <a:lvl2pPr marL="511969" indent="-31789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6"/>
        </a:buBlip>
        <a:defRPr sz="825">
          <a:solidFill>
            <a:schemeClr val="tx1"/>
          </a:solidFill>
          <a:latin typeface="+mn-lt"/>
          <a:cs typeface="+mn-cs"/>
        </a:defRPr>
      </a:lvl2pPr>
      <a:lvl3pPr marL="733425" indent="-2202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825">
          <a:solidFill>
            <a:schemeClr val="tx1"/>
          </a:solidFill>
          <a:latin typeface="+mn-lt"/>
          <a:cs typeface="+mn-cs"/>
        </a:defRPr>
      </a:lvl3pPr>
      <a:lvl4pPr marL="946547" indent="-21193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200">
          <a:solidFill>
            <a:schemeClr val="tx1"/>
          </a:solidFill>
          <a:latin typeface="+mn-lt"/>
          <a:cs typeface="+mn-cs"/>
        </a:defRPr>
      </a:lvl4pPr>
      <a:lvl5pPr marL="11299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4728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18157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1586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5015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101640219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11" name="think-cell Slide" r:id="rId13" imgW="270" imgH="270" progId="">
                  <p:embed/>
                </p:oleObj>
              </mc:Choice>
              <mc:Fallback>
                <p:oleObj name="think-cell Slide" r:id="rId13" imgW="270" imgH="270" progId="">
                  <p:embed/>
                  <p:pic>
                    <p:nvPicPr>
                      <p:cNvPr id="0" name="Picture 12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58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1" y="0"/>
            <a:ext cx="5651500" cy="18466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600" dirty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6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2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1" y="652112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006841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  <p:sldLayoutId id="2147483953" r:id="rId2"/>
    <p:sldLayoutId id="2147483954" r:id="rId3"/>
    <p:sldLayoutId id="2147483955" r:id="rId4"/>
    <p:sldLayoutId id="2147483956" r:id="rId5"/>
    <p:sldLayoutId id="2147483958" r:id="rId6"/>
    <p:sldLayoutId id="2147483959" r:id="rId7"/>
    <p:sldLayoutId id="2147483960" r:id="rId8"/>
    <p:sldLayoutId id="2147483961" r:id="rId9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75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92881" indent="-192881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5"/>
        </a:buBlip>
        <a:defRPr sz="900">
          <a:solidFill>
            <a:schemeClr val="tx1"/>
          </a:solidFill>
          <a:latin typeface="+mn-lt"/>
          <a:ea typeface="+mn-ea"/>
          <a:cs typeface="+mn-cs"/>
        </a:defRPr>
      </a:lvl1pPr>
      <a:lvl2pPr marL="511969" indent="-31789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6"/>
        </a:buBlip>
        <a:defRPr sz="825">
          <a:solidFill>
            <a:schemeClr val="tx1"/>
          </a:solidFill>
          <a:latin typeface="+mn-lt"/>
          <a:cs typeface="+mn-cs"/>
        </a:defRPr>
      </a:lvl2pPr>
      <a:lvl3pPr marL="733425" indent="-2202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825">
          <a:solidFill>
            <a:schemeClr val="tx1"/>
          </a:solidFill>
          <a:latin typeface="+mn-lt"/>
          <a:cs typeface="+mn-cs"/>
        </a:defRPr>
      </a:lvl3pPr>
      <a:lvl4pPr marL="946547" indent="-21193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200">
          <a:solidFill>
            <a:schemeClr val="tx1"/>
          </a:solidFill>
          <a:latin typeface="+mn-lt"/>
          <a:cs typeface="+mn-cs"/>
        </a:defRPr>
      </a:lvl4pPr>
      <a:lvl5pPr marL="11299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4728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18157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1586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5015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48152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0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58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1" y="0"/>
            <a:ext cx="5651500" cy="18466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60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6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2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1" y="652112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4026970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5" r:id="rId4"/>
    <p:sldLayoutId id="2147483976" r:id="rId5"/>
    <p:sldLayoutId id="2147483978" r:id="rId6"/>
    <p:sldLayoutId id="2147483979" r:id="rId7"/>
    <p:sldLayoutId id="2147483980" r:id="rId8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75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92881" indent="-192881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4"/>
        </a:buBlip>
        <a:defRPr sz="900">
          <a:solidFill>
            <a:schemeClr val="tx1"/>
          </a:solidFill>
          <a:latin typeface="+mn-lt"/>
          <a:ea typeface="+mn-ea"/>
          <a:cs typeface="+mn-cs"/>
        </a:defRPr>
      </a:lvl1pPr>
      <a:lvl2pPr marL="511969" indent="-31789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5"/>
        </a:buBlip>
        <a:defRPr sz="825">
          <a:solidFill>
            <a:schemeClr val="tx1"/>
          </a:solidFill>
          <a:latin typeface="+mn-lt"/>
          <a:cs typeface="+mn-cs"/>
        </a:defRPr>
      </a:lvl2pPr>
      <a:lvl3pPr marL="733425" indent="-2202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825">
          <a:solidFill>
            <a:schemeClr val="tx1"/>
          </a:solidFill>
          <a:latin typeface="+mn-lt"/>
          <a:cs typeface="+mn-cs"/>
        </a:defRPr>
      </a:lvl3pPr>
      <a:lvl4pPr marL="946547" indent="-21193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200">
          <a:solidFill>
            <a:schemeClr val="tx1"/>
          </a:solidFill>
          <a:latin typeface="+mn-lt"/>
          <a:cs typeface="+mn-cs"/>
        </a:defRPr>
      </a:lvl4pPr>
      <a:lvl5pPr marL="11299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4728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18157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1586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5015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77" name="think-cell Slide" r:id="rId12" imgW="270" imgH="270" progId="">
                  <p:embed/>
                </p:oleObj>
              </mc:Choice>
              <mc:Fallback>
                <p:oleObj name="think-cell Slide" r:id="rId12" imgW="270" imgH="270" progId="">
                  <p:embed/>
                  <p:pic>
                    <p:nvPicPr>
                      <p:cNvPr id="3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57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marL="0" marR="0" lvl="0" indent="0" algn="l" defTabSz="912804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1000" b="0" i="0" u="none" strike="noStrike" kern="1200" cap="none" spc="0" normalizeH="0" baseline="0" noProof="0" dirty="0">
              <a:ln>
                <a:noFill/>
              </a:ln>
              <a:solidFill>
                <a:srgbClr val="002766"/>
              </a:solidFill>
              <a:effectLst/>
              <a:uLnTx/>
              <a:uFillTx/>
              <a:latin typeface="Tahoma" pitchFamily="34" charset="0"/>
              <a:ea typeface="PMingLiU" pitchFamily="18" charset="-120"/>
              <a:cs typeface="+mn-cs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0" y="0"/>
            <a:ext cx="5651500" cy="21544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marL="0" marR="0" lvl="0" indent="0" algn="l" defTabSz="912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GB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766"/>
                </a:solidFill>
                <a:effectLst/>
                <a:uLnTx/>
                <a:uFillTx/>
                <a:latin typeface="Arial"/>
                <a:ea typeface="PMingLiU" pitchFamily="18" charset="-120"/>
                <a:cs typeface="+mn-cs"/>
              </a:rPr>
              <a:t>ALMAZ2013\IPO\Roadshow\October Roadshow\Presentation\13 10 13 Roadshow Presentation RUS vF.pptx</a:t>
            </a:r>
            <a:endParaRPr kumimoji="1" lang="en-US" sz="800" b="0" i="0" u="none" strike="noStrike" kern="1200" cap="none" spc="0" normalizeH="0" baseline="0" noProof="0" dirty="0">
              <a:ln>
                <a:noFill/>
              </a:ln>
              <a:solidFill>
                <a:srgbClr val="002766"/>
              </a:solidFill>
              <a:effectLst/>
              <a:uLnTx/>
              <a:uFillTx/>
              <a:latin typeface="Arial"/>
              <a:ea typeface="PMingLiU" pitchFamily="18" charset="-120"/>
              <a:cs typeface="+mn-cs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0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2804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0072B6"/>
              </a:solidFill>
              <a:effectLst/>
              <a:uLnTx/>
              <a:uFillTx/>
              <a:latin typeface="Tahoma" pitchFamily="34" charset="0"/>
              <a:ea typeface="PMingLiU" pitchFamily="18" charset="-120"/>
              <a:cs typeface="+mn-cs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0" y="652112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2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E141AF1-466E-4D9F-B74C-45FFEB47CA13}" type="slidenum">
              <a:rPr kumimoji="1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PMingLiU" pitchFamily="18" charset="-120"/>
                <a:cs typeface="+mn-cs"/>
              </a:rPr>
              <a:pPr marL="0" marR="0" lvl="0" indent="0" algn="l" defTabSz="912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PMingLiU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1843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6" r:id="rId1"/>
    <p:sldLayoutId id="2147483997" r:id="rId2"/>
    <p:sldLayoutId id="2147483998" r:id="rId3"/>
    <p:sldLayoutId id="2147483999" r:id="rId4"/>
    <p:sldLayoutId id="2147484000" r:id="rId5"/>
    <p:sldLayoutId id="2147484001" r:id="rId6"/>
    <p:sldLayoutId id="2147484002" r:id="rId7"/>
    <p:sldLayoutId id="2147484003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7175" indent="-257175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4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2625" indent="-42386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5"/>
        </a:buBlip>
        <a:defRPr sz="1100">
          <a:solidFill>
            <a:schemeClr val="tx1"/>
          </a:solidFill>
          <a:latin typeface="+mn-lt"/>
          <a:cs typeface="+mn-cs"/>
        </a:defRPr>
      </a:lvl2pPr>
      <a:lvl3pPr marL="977900" indent="-2936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62063" indent="-28257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65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637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209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81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353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7C685D-3815-4639-A036-18ED3D66B864}" type="datetimeFigureOut">
              <a:rPr lang="ru-RU" smtClean="0"/>
              <a:t>11.04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872390-328C-4818-ABE9-70A589662AB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53801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  <p:sldLayoutId id="2147483988" r:id="rId5"/>
    <p:sldLayoutId id="2147483989" r:id="rId6"/>
    <p:sldLayoutId id="2147483990" r:id="rId7"/>
    <p:sldLayoutId id="2147483991" r:id="rId8"/>
    <p:sldLayoutId id="2147483992" r:id="rId9"/>
    <p:sldLayoutId id="2147483993" r:id="rId10"/>
    <p:sldLayoutId id="2147483994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81554452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7" name="think-cell Slide" r:id="rId11" imgW="270" imgH="270" progId="">
                  <p:embed/>
                </p:oleObj>
              </mc:Choice>
              <mc:Fallback>
                <p:oleObj name="think-cell Slide" r:id="rId11" imgW="270" imgH="270" progId="">
                  <p:embed/>
                  <p:pic>
                    <p:nvPicPr>
                      <p:cNvPr id="0" name="Picture 17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58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1" y="0"/>
            <a:ext cx="5651500" cy="18466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600" dirty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6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2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1" y="652112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624147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9" r:id="rId6"/>
    <p:sldLayoutId id="2147483740" r:id="rId7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75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92881" indent="-192881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3"/>
        </a:buBlip>
        <a:defRPr sz="900">
          <a:solidFill>
            <a:schemeClr val="tx1"/>
          </a:solidFill>
          <a:latin typeface="+mn-lt"/>
          <a:ea typeface="+mn-ea"/>
          <a:cs typeface="+mn-cs"/>
        </a:defRPr>
      </a:lvl1pPr>
      <a:lvl2pPr marL="511969" indent="-31789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4"/>
        </a:buBlip>
        <a:defRPr sz="825">
          <a:solidFill>
            <a:schemeClr val="tx1"/>
          </a:solidFill>
          <a:latin typeface="+mn-lt"/>
          <a:cs typeface="+mn-cs"/>
        </a:defRPr>
      </a:lvl2pPr>
      <a:lvl3pPr marL="733425" indent="-2202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825">
          <a:solidFill>
            <a:schemeClr val="tx1"/>
          </a:solidFill>
          <a:latin typeface="+mn-lt"/>
          <a:cs typeface="+mn-cs"/>
        </a:defRPr>
      </a:lvl3pPr>
      <a:lvl4pPr marL="946547" indent="-21193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200">
          <a:solidFill>
            <a:schemeClr val="tx1"/>
          </a:solidFill>
          <a:latin typeface="+mn-lt"/>
          <a:cs typeface="+mn-cs"/>
        </a:defRPr>
      </a:lvl4pPr>
      <a:lvl5pPr marL="11299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4728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18157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1586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5015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16050469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1" name="think-cell Slide" r:id="rId11" imgW="270" imgH="270" progId="">
                  <p:embed/>
                </p:oleObj>
              </mc:Choice>
              <mc:Fallback>
                <p:oleObj name="think-cell Slide" r:id="rId11" imgW="270" imgH="270" progId="">
                  <p:embed/>
                  <p:pic>
                    <p:nvPicPr>
                      <p:cNvPr id="0" name="Picture 17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58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1" y="0"/>
            <a:ext cx="5651500" cy="18466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600" dirty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6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2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1" y="652112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586788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8" r:id="rId6"/>
    <p:sldLayoutId id="2147483749" r:id="rId7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75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92881" indent="-192881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3"/>
        </a:buBlip>
        <a:defRPr sz="900">
          <a:solidFill>
            <a:schemeClr val="tx1"/>
          </a:solidFill>
          <a:latin typeface="+mn-lt"/>
          <a:ea typeface="+mn-ea"/>
          <a:cs typeface="+mn-cs"/>
        </a:defRPr>
      </a:lvl1pPr>
      <a:lvl2pPr marL="511969" indent="-31789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4"/>
        </a:buBlip>
        <a:defRPr sz="825">
          <a:solidFill>
            <a:schemeClr val="tx1"/>
          </a:solidFill>
          <a:latin typeface="+mn-lt"/>
          <a:cs typeface="+mn-cs"/>
        </a:defRPr>
      </a:lvl2pPr>
      <a:lvl3pPr marL="733425" indent="-2202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825">
          <a:solidFill>
            <a:schemeClr val="tx1"/>
          </a:solidFill>
          <a:latin typeface="+mn-lt"/>
          <a:cs typeface="+mn-cs"/>
        </a:defRPr>
      </a:lvl3pPr>
      <a:lvl4pPr marL="946547" indent="-21193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200">
          <a:solidFill>
            <a:schemeClr val="tx1"/>
          </a:solidFill>
          <a:latin typeface="+mn-lt"/>
          <a:cs typeface="+mn-cs"/>
        </a:defRPr>
      </a:lvl4pPr>
      <a:lvl5pPr marL="11299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4728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18157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1586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5015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993482769"/>
              </p:ext>
            </p:extLst>
          </p:nvPr>
        </p:nvGraphicFramePr>
        <p:xfrm>
          <a:off x="159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19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Picture 17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60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68567" tIns="34284" rIns="68567" bIns="34284"/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2"/>
            <a:ext cx="5651500" cy="161571"/>
          </a:xfrm>
          <a:prstGeom prst="rect">
            <a:avLst/>
          </a:prstGeom>
          <a:noFill/>
        </p:spPr>
        <p:txBody>
          <a:bodyPr vert="horz" lIns="68567" tIns="34284" rIns="68567" bIns="34284" rtlCol="0">
            <a:spAutoFit/>
          </a:bodyPr>
          <a:lstStyle/>
          <a:p>
            <a:pPr defTabSz="684477"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600" dirty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6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4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422" tIns="45712" rIns="91422" bIns="45712"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pPr defTabSz="684477"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defTabSz="6844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341002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7" r:id="rId6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75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5pPr>
      <a:lvl6pPr marL="34283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6pPr>
      <a:lvl7pPr marL="68567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7pPr>
      <a:lvl8pPr marL="102851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8pPr>
      <a:lvl9pPr marL="1371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92846" indent="-192846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2"/>
        </a:buBlip>
        <a:defRPr sz="900">
          <a:solidFill>
            <a:schemeClr val="tx1"/>
          </a:solidFill>
          <a:latin typeface="+mn-lt"/>
          <a:ea typeface="+mn-ea"/>
          <a:cs typeface="+mn-cs"/>
        </a:defRPr>
      </a:lvl1pPr>
      <a:lvl2pPr marL="511874" indent="-31783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3"/>
        </a:buBlip>
        <a:defRPr sz="825">
          <a:solidFill>
            <a:schemeClr val="tx1"/>
          </a:solidFill>
          <a:latin typeface="+mn-lt"/>
          <a:cs typeface="+mn-cs"/>
        </a:defRPr>
      </a:lvl2pPr>
      <a:lvl3pPr marL="733290" indent="-22022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825">
          <a:solidFill>
            <a:schemeClr val="tx1"/>
          </a:solidFill>
          <a:latin typeface="+mn-lt"/>
          <a:cs typeface="+mn-cs"/>
        </a:defRPr>
      </a:lvl3pPr>
      <a:lvl4pPr marL="946373" indent="-21189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200">
          <a:solidFill>
            <a:schemeClr val="tx1"/>
          </a:solidFill>
          <a:latin typeface="+mn-lt"/>
          <a:cs typeface="+mn-cs"/>
        </a:defRPr>
      </a:lvl4pPr>
      <a:lvl5pPr marL="1129695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472532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1815371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158206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501043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37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74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11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47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185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21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58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696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5686560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43" name="think-cell Slide" r:id="rId11" imgW="270" imgH="270" progId="">
                  <p:embed/>
                </p:oleObj>
              </mc:Choice>
              <mc:Fallback>
                <p:oleObj name="think-cell Slide" r:id="rId11" imgW="270" imgH="270" progId="">
                  <p:embed/>
                  <p:pic>
                    <p:nvPicPr>
                      <p:cNvPr id="0" name="Picture 17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58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1" y="0"/>
            <a:ext cx="5651500" cy="18466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600" dirty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6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2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1" y="652112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662190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5" r:id="rId6"/>
    <p:sldLayoutId id="2147483766" r:id="rId7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75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92881" indent="-192881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3"/>
        </a:buBlip>
        <a:defRPr sz="900">
          <a:solidFill>
            <a:schemeClr val="tx1"/>
          </a:solidFill>
          <a:latin typeface="+mn-lt"/>
          <a:ea typeface="+mn-ea"/>
          <a:cs typeface="+mn-cs"/>
        </a:defRPr>
      </a:lvl1pPr>
      <a:lvl2pPr marL="511969" indent="-31789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4"/>
        </a:buBlip>
        <a:defRPr sz="825">
          <a:solidFill>
            <a:schemeClr val="tx1"/>
          </a:solidFill>
          <a:latin typeface="+mn-lt"/>
          <a:cs typeface="+mn-cs"/>
        </a:defRPr>
      </a:lvl2pPr>
      <a:lvl3pPr marL="733425" indent="-2202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825">
          <a:solidFill>
            <a:schemeClr val="tx1"/>
          </a:solidFill>
          <a:latin typeface="+mn-lt"/>
          <a:cs typeface="+mn-cs"/>
        </a:defRPr>
      </a:lvl3pPr>
      <a:lvl4pPr marL="946547" indent="-21193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200">
          <a:solidFill>
            <a:schemeClr val="tx1"/>
          </a:solidFill>
          <a:latin typeface="+mn-lt"/>
          <a:cs typeface="+mn-cs"/>
        </a:defRPr>
      </a:lvl4pPr>
      <a:lvl5pPr marL="11299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4728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18157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1586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501504" indent="-1821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8761540"/>
              </p:ext>
            </p:extLst>
          </p:nvPr>
        </p:nvGraphicFramePr>
        <p:xfrm>
          <a:off x="159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968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Picture 17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60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68567" tIns="34284" rIns="68567" bIns="34284"/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2"/>
            <a:ext cx="5651500" cy="161571"/>
          </a:xfrm>
          <a:prstGeom prst="rect">
            <a:avLst/>
          </a:prstGeom>
          <a:noFill/>
        </p:spPr>
        <p:txBody>
          <a:bodyPr vert="horz" lIns="68567" tIns="34284" rIns="68567" bIns="34284" rtlCol="0">
            <a:spAutoFit/>
          </a:bodyPr>
          <a:lstStyle/>
          <a:p>
            <a:pPr defTabSz="684477"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600" dirty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6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4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422" tIns="45712" rIns="91422" bIns="45712"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pPr defTabSz="684477"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defTabSz="6844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282950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4" r:id="rId6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75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5pPr>
      <a:lvl6pPr marL="34283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6pPr>
      <a:lvl7pPr marL="68567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7pPr>
      <a:lvl8pPr marL="102851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8pPr>
      <a:lvl9pPr marL="1371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92846" indent="-192846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2"/>
        </a:buBlip>
        <a:defRPr sz="900">
          <a:solidFill>
            <a:schemeClr val="tx1"/>
          </a:solidFill>
          <a:latin typeface="+mn-lt"/>
          <a:ea typeface="+mn-ea"/>
          <a:cs typeface="+mn-cs"/>
        </a:defRPr>
      </a:lvl1pPr>
      <a:lvl2pPr marL="511874" indent="-31783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3"/>
        </a:buBlip>
        <a:defRPr sz="825">
          <a:solidFill>
            <a:schemeClr val="tx1"/>
          </a:solidFill>
          <a:latin typeface="+mn-lt"/>
          <a:cs typeface="+mn-cs"/>
        </a:defRPr>
      </a:lvl2pPr>
      <a:lvl3pPr marL="733290" indent="-22022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825">
          <a:solidFill>
            <a:schemeClr val="tx1"/>
          </a:solidFill>
          <a:latin typeface="+mn-lt"/>
          <a:cs typeface="+mn-cs"/>
        </a:defRPr>
      </a:lvl3pPr>
      <a:lvl4pPr marL="946373" indent="-21189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200">
          <a:solidFill>
            <a:schemeClr val="tx1"/>
          </a:solidFill>
          <a:latin typeface="+mn-lt"/>
          <a:cs typeface="+mn-cs"/>
        </a:defRPr>
      </a:lvl4pPr>
      <a:lvl5pPr marL="1129695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472532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1815371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158206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501043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37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74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11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47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185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21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58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696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68620944"/>
              </p:ext>
            </p:extLst>
          </p:nvPr>
        </p:nvGraphicFramePr>
        <p:xfrm>
          <a:off x="159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991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Picture 17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60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68567" tIns="34284" rIns="68567" bIns="34284"/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75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2"/>
            <a:ext cx="5651500" cy="161571"/>
          </a:xfrm>
          <a:prstGeom prst="rect">
            <a:avLst/>
          </a:prstGeom>
          <a:noFill/>
        </p:spPr>
        <p:txBody>
          <a:bodyPr vert="horz" lIns="68567" tIns="34284" rIns="68567" bIns="34284" rtlCol="0">
            <a:spAutoFit/>
          </a:bodyPr>
          <a:lstStyle/>
          <a:p>
            <a:pPr defTabSz="684477"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600" dirty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6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4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67" tIns="34284" rIns="68567" bIns="34284" numCol="1" rtlCol="0" anchor="t" anchorCtr="0" compatLnSpc="1">
            <a:prstTxWarp prst="textNoShape">
              <a:avLst/>
            </a:prstTxWarp>
          </a:bodyPr>
          <a:lstStyle/>
          <a:p>
            <a:pPr defTabSz="684477" fontAlgn="base">
              <a:spcBef>
                <a:spcPct val="50000"/>
              </a:spcBef>
              <a:spcAft>
                <a:spcPct val="0"/>
              </a:spcAft>
            </a:pPr>
            <a:endParaRPr kumimoji="1" lang="ru-RU" sz="750" dirty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422" tIns="45712" rIns="91422" bIns="45712"/>
          <a:lstStyle>
            <a:lvl1pPr>
              <a:defRPr sz="600">
                <a:solidFill>
                  <a:schemeClr val="bg1"/>
                </a:solidFill>
                <a:latin typeface="+mj-lt"/>
              </a:defRPr>
            </a:lvl1pPr>
          </a:lstStyle>
          <a:p>
            <a:pPr defTabSz="684477"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defTabSz="6844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95050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2" r:id="rId6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75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5pPr>
      <a:lvl6pPr marL="34283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6pPr>
      <a:lvl7pPr marL="68567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7pPr>
      <a:lvl8pPr marL="102851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8pPr>
      <a:lvl9pPr marL="1371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25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92846" indent="-192846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2"/>
        </a:buBlip>
        <a:defRPr sz="900">
          <a:solidFill>
            <a:schemeClr val="tx1"/>
          </a:solidFill>
          <a:latin typeface="+mn-lt"/>
          <a:ea typeface="+mn-ea"/>
          <a:cs typeface="+mn-cs"/>
        </a:defRPr>
      </a:lvl1pPr>
      <a:lvl2pPr marL="511874" indent="-31783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3"/>
        </a:buBlip>
        <a:defRPr sz="825">
          <a:solidFill>
            <a:schemeClr val="tx1"/>
          </a:solidFill>
          <a:latin typeface="+mn-lt"/>
          <a:cs typeface="+mn-cs"/>
        </a:defRPr>
      </a:lvl2pPr>
      <a:lvl3pPr marL="733290" indent="-22022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825">
          <a:solidFill>
            <a:schemeClr val="tx1"/>
          </a:solidFill>
          <a:latin typeface="+mn-lt"/>
          <a:cs typeface="+mn-cs"/>
        </a:defRPr>
      </a:lvl3pPr>
      <a:lvl4pPr marL="946373" indent="-21189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200">
          <a:solidFill>
            <a:schemeClr val="tx1"/>
          </a:solidFill>
          <a:latin typeface="+mn-lt"/>
          <a:cs typeface="+mn-cs"/>
        </a:defRPr>
      </a:lvl4pPr>
      <a:lvl5pPr marL="1129695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472532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1815371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158206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501043" indent="-1821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37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74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11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47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185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21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58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696" algn="l" defTabSz="68567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2.png"/><Relationship Id="rId4" Type="http://schemas.openxmlformats.org/officeDocument/2006/relationships/image" Target="../media/image11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2.png"/><Relationship Id="rId5" Type="http://schemas.openxmlformats.org/officeDocument/2006/relationships/image" Target="../media/image31.jpe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4.png"/><Relationship Id="rId5" Type="http://schemas.openxmlformats.org/officeDocument/2006/relationships/image" Target="../media/image33.jpeg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5.jpeg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6.jpeg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7.jpeg"/><Relationship Id="rId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9.jpeg"/><Relationship Id="rId5" Type="http://schemas.openxmlformats.org/officeDocument/2006/relationships/image" Target="../media/image38.jpeg"/><Relationship Id="rId4" Type="http://schemas.openxmlformats.org/officeDocument/2006/relationships/image" Target="../media/image14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6.jpe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image" Target="../media/image13.jpeg"/><Relationship Id="rId7" Type="http://schemas.openxmlformats.org/officeDocument/2006/relationships/image" Target="../media/image19.jpeg"/><Relationship Id="rId12" Type="http://schemas.openxmlformats.org/officeDocument/2006/relationships/image" Target="../media/image2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8.jpeg"/><Relationship Id="rId11" Type="http://schemas.openxmlformats.org/officeDocument/2006/relationships/image" Target="../media/image23.jpeg"/><Relationship Id="rId5" Type="http://schemas.openxmlformats.org/officeDocument/2006/relationships/image" Target="../media/image17.jpeg"/><Relationship Id="rId10" Type="http://schemas.openxmlformats.org/officeDocument/2006/relationships/image" Target="../media/image22.jpeg"/><Relationship Id="rId4" Type="http://schemas.openxmlformats.org/officeDocument/2006/relationships/image" Target="../media/image14.png"/><Relationship Id="rId9" Type="http://schemas.openxmlformats.org/officeDocument/2006/relationships/image" Target="../media/image21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13.jpeg"/><Relationship Id="rId7" Type="http://schemas.openxmlformats.org/officeDocument/2006/relationships/image" Target="../media/image1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8.jpeg"/><Relationship Id="rId11" Type="http://schemas.openxmlformats.org/officeDocument/2006/relationships/image" Target="../media/image26.jpeg"/><Relationship Id="rId5" Type="http://schemas.openxmlformats.org/officeDocument/2006/relationships/image" Target="../media/image17.jpeg"/><Relationship Id="rId10" Type="http://schemas.openxmlformats.org/officeDocument/2006/relationships/image" Target="../media/image25.jpeg"/><Relationship Id="rId4" Type="http://schemas.openxmlformats.org/officeDocument/2006/relationships/image" Target="../media/image14.png"/><Relationship Id="rId9" Type="http://schemas.openxmlformats.org/officeDocument/2006/relationships/image" Target="../media/image22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13.jpeg"/><Relationship Id="rId7" Type="http://schemas.openxmlformats.org/officeDocument/2006/relationships/image" Target="../media/image1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10" Type="http://schemas.openxmlformats.org/officeDocument/2006/relationships/image" Target="../media/image27.jpeg"/><Relationship Id="rId4" Type="http://schemas.openxmlformats.org/officeDocument/2006/relationships/image" Target="../media/image14.png"/><Relationship Id="rId9" Type="http://schemas.openxmlformats.org/officeDocument/2006/relationships/image" Target="../media/image2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8.jpe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9.jpe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0.jpe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81445" y="4365104"/>
            <a:ext cx="6742113" cy="554831"/>
          </a:xfrm>
        </p:spPr>
        <p:txBody>
          <a:bodyPr/>
          <a:lstStyle/>
          <a:p>
            <a:pPr algn="ctr"/>
            <a:r>
              <a:rPr lang="ru-RU" sz="1800" b="1" dirty="0">
                <a:solidFill>
                  <a:srgbClr val="016EB3"/>
                </a:solidFill>
                <a:cs typeface="Times New Roman" panose="02020603050405020304" pitchFamily="18" charset="0"/>
              </a:rPr>
              <a:t>ПЕРСПЕКТИВЫ КИМБЕРЛИТОНОСНОСТИ ФЛАНГОВ ВИЛЮЙСКО-МАРХИНСКОЙ ЗОНЫ ГЛУБИННЫХ </a:t>
            </a:r>
            <a:r>
              <a:rPr lang="ru-RU" sz="1800" b="1" dirty="0" smtClean="0">
                <a:solidFill>
                  <a:srgbClr val="016EB3"/>
                </a:solidFill>
                <a:cs typeface="Times New Roman" panose="02020603050405020304" pitchFamily="18" charset="0"/>
              </a:rPr>
              <a:t>РАЗЛОМОВ</a:t>
            </a:r>
            <a:br>
              <a:rPr lang="ru-RU" sz="1800" b="1" dirty="0" smtClean="0">
                <a:solidFill>
                  <a:srgbClr val="016EB3"/>
                </a:solidFill>
                <a:cs typeface="Times New Roman" panose="02020603050405020304" pitchFamily="18" charset="0"/>
              </a:rPr>
            </a:br>
            <a:r>
              <a:rPr lang="en-US" sz="1800" b="1" dirty="0" smtClean="0">
                <a:solidFill>
                  <a:srgbClr val="016EB3"/>
                </a:solidFill>
                <a:cs typeface="Times New Roman" panose="02020603050405020304" pitchFamily="18" charset="0"/>
              </a:rPr>
              <a:t/>
            </a:r>
            <a:br>
              <a:rPr lang="en-US" sz="1800" b="1" dirty="0" smtClean="0">
                <a:solidFill>
                  <a:srgbClr val="016EB3"/>
                </a:solidFill>
                <a:cs typeface="Times New Roman" panose="02020603050405020304" pitchFamily="18" charset="0"/>
              </a:rPr>
            </a:br>
            <a:r>
              <a:rPr lang="ru-RU" sz="1350" b="1" dirty="0">
                <a:solidFill>
                  <a:srgbClr val="016EB3"/>
                </a:solidFill>
                <a:cs typeface="Times New Roman" panose="02020603050405020304" pitchFamily="18" charset="0"/>
              </a:rPr>
              <a:t/>
            </a:r>
            <a:br>
              <a:rPr lang="ru-RU" sz="1350" b="1" dirty="0">
                <a:solidFill>
                  <a:srgbClr val="016EB3"/>
                </a:solidFill>
                <a:cs typeface="Times New Roman" panose="02020603050405020304" pitchFamily="18" charset="0"/>
              </a:rPr>
            </a:br>
            <a:r>
              <a:rPr lang="ru-RU" sz="1400" i="1" dirty="0" smtClean="0">
                <a:solidFill>
                  <a:srgbClr val="016EB3"/>
                </a:solidFill>
                <a:cs typeface="Times New Roman" panose="02020603050405020304" pitchFamily="18" charset="0"/>
              </a:rPr>
              <a:t>Проценко </a:t>
            </a:r>
            <a:r>
              <a:rPr lang="ru-RU" sz="1400" i="1" dirty="0">
                <a:solidFill>
                  <a:srgbClr val="016EB3"/>
                </a:solidFill>
                <a:cs typeface="Times New Roman" panose="02020603050405020304" pitchFamily="18" charset="0"/>
              </a:rPr>
              <a:t>Е.В</a:t>
            </a:r>
            <a:r>
              <a:rPr lang="ru-RU" sz="1400" i="1" dirty="0" smtClean="0">
                <a:solidFill>
                  <a:srgbClr val="016EB3"/>
                </a:solidFill>
                <a:cs typeface="Times New Roman" panose="02020603050405020304" pitchFamily="18" charset="0"/>
              </a:rPr>
              <a:t>., Горев Н.И</a:t>
            </a:r>
            <a:r>
              <a:rPr lang="ru-RU" sz="1400" i="1" dirty="0" smtClean="0">
                <a:solidFill>
                  <a:srgbClr val="016EB3"/>
                </a:solidFill>
                <a:cs typeface="Times New Roman" panose="02020603050405020304" pitchFamily="18" charset="0"/>
              </a:rPr>
              <a:t>., Толстов А.В. </a:t>
            </a:r>
            <a:r>
              <a:rPr lang="ru-RU" sz="1400" i="1" dirty="0">
                <a:solidFill>
                  <a:srgbClr val="016EB3"/>
                </a:solidFill>
                <a:cs typeface="Times New Roman" panose="02020603050405020304" pitchFamily="18" charset="0"/>
              </a:rPr>
              <a:t>(НИГП АК «АЛРОСА» (ПАО))</a:t>
            </a:r>
            <a:br>
              <a:rPr lang="ru-RU" sz="1400" i="1" dirty="0">
                <a:solidFill>
                  <a:srgbClr val="016EB3"/>
                </a:solidFill>
                <a:cs typeface="Times New Roman" panose="02020603050405020304" pitchFamily="18" charset="0"/>
              </a:rPr>
            </a:br>
            <a:r>
              <a:rPr lang="ru-RU" sz="1400" b="1" dirty="0">
                <a:solidFill>
                  <a:srgbClr val="016EB3"/>
                </a:solidFill>
                <a:cs typeface="Times New Roman" panose="02020603050405020304" pitchFamily="18" charset="0"/>
              </a:rPr>
              <a:t/>
            </a:r>
            <a:br>
              <a:rPr lang="ru-RU" sz="1400" b="1" dirty="0">
                <a:solidFill>
                  <a:srgbClr val="016EB3"/>
                </a:solidFill>
                <a:cs typeface="Times New Roman" panose="02020603050405020304" pitchFamily="18" charset="0"/>
              </a:rPr>
            </a:br>
            <a:r>
              <a:rPr lang="ru-RU" sz="1400" dirty="0" smtClean="0">
                <a:solidFill>
                  <a:srgbClr val="016EB3"/>
                </a:solidFill>
                <a:cs typeface="Times New Roman" panose="02020603050405020304" pitchFamily="18" charset="0"/>
              </a:rPr>
              <a:t>2018 </a:t>
            </a:r>
            <a:r>
              <a:rPr lang="ru-RU" sz="1400" dirty="0">
                <a:solidFill>
                  <a:srgbClr val="016EB3"/>
                </a:solidFill>
                <a:cs typeface="Times New Roman" panose="02020603050405020304" pitchFamily="18" charset="0"/>
              </a:rPr>
              <a:t>г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784" y="2892165"/>
            <a:ext cx="2507105" cy="107367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641591"/>
            <a:ext cx="5238582" cy="3545625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34020" y="5640015"/>
            <a:ext cx="734764" cy="915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665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E141AF1-466E-4D9F-B74C-45FFEB47CA13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526905" y="165165"/>
            <a:ext cx="6480720" cy="672872"/>
          </a:xfrm>
        </p:spPr>
        <p:txBody>
          <a:bodyPr/>
          <a:lstStyle/>
          <a:p>
            <a:pPr algn="ctr"/>
            <a:r>
              <a:rPr lang="ru-RU" sz="1800" b="1" dirty="0" smtClean="0"/>
              <a:t>Схема строения кровли кристаллического </a:t>
            </a:r>
            <a:r>
              <a:rPr lang="ru-RU" sz="1800" b="1" dirty="0" smtClean="0"/>
              <a:t>фундамента.</a:t>
            </a:r>
            <a:endParaRPr lang="ru-RU" sz="1800" b="1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24" t="9363" r="-2606" b="31305"/>
          <a:stretch/>
        </p:blipFill>
        <p:spPr>
          <a:xfrm>
            <a:off x="8273618" y="230681"/>
            <a:ext cx="794183" cy="38173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155" y="142429"/>
            <a:ext cx="540941" cy="67617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00" t="13250" r="15350" b="12137"/>
          <a:stretch/>
        </p:blipFill>
        <p:spPr>
          <a:xfrm>
            <a:off x="900232" y="838037"/>
            <a:ext cx="7734066" cy="518182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6"/>
          <a:srcRect l="17361" t="87378" r="11241"/>
          <a:stretch/>
        </p:blipFill>
        <p:spPr>
          <a:xfrm>
            <a:off x="2483768" y="6093051"/>
            <a:ext cx="4680520" cy="677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765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E141AF1-466E-4D9F-B74C-45FFEB47CA13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683569" y="115077"/>
            <a:ext cx="8384232" cy="672872"/>
          </a:xfrm>
        </p:spPr>
        <p:txBody>
          <a:bodyPr/>
          <a:lstStyle/>
          <a:p>
            <a:pPr algn="ctr"/>
            <a:r>
              <a:rPr lang="ru-RU" sz="1800" b="1" dirty="0" smtClean="0"/>
              <a:t>Структурно-тектоническая схема </a:t>
            </a:r>
            <a:r>
              <a:rPr lang="ru-RU" sz="1800" b="1" dirty="0" err="1" smtClean="0"/>
              <a:t>Юлэгирской</a:t>
            </a:r>
            <a:r>
              <a:rPr lang="ru-RU" sz="1800" b="1" dirty="0" smtClean="0"/>
              <a:t> площади.</a:t>
            </a:r>
            <a:endParaRPr lang="ru-RU" sz="1800" b="1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24" t="9363" r="-2606" b="31305"/>
          <a:stretch/>
        </p:blipFill>
        <p:spPr>
          <a:xfrm>
            <a:off x="8045091" y="23829"/>
            <a:ext cx="794183" cy="38173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155" y="142429"/>
            <a:ext cx="540941" cy="676176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4850" b="15778"/>
          <a:stretch/>
        </p:blipFill>
        <p:spPr>
          <a:xfrm>
            <a:off x="0" y="980728"/>
            <a:ext cx="4928856" cy="576297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6"/>
          <a:srcRect l="14789" t="89453" r="8389"/>
          <a:stretch/>
        </p:blipFill>
        <p:spPr>
          <a:xfrm>
            <a:off x="4875684" y="1052736"/>
            <a:ext cx="4088803" cy="615981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4928856" y="1933504"/>
            <a:ext cx="3910418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словные обозначения:</a:t>
            </a:r>
          </a:p>
          <a:p>
            <a:pPr algn="just"/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-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раницы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 I-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о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рядка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региональные разломы фундамента древнего заложения, разделяющие крупные блоки фундамента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-4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ломы осадочного чехла, их кинематика: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сбросы,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взбросы; региональные зоны разломов: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–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раницы зон разломов, П-Ж –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опигайско-Жиганская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В-М –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илюйско-Мархинская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центральная (осевая) часть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илюйско-Мархинской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зоны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– Тюнгская секущая зона </a:t>
            </a:r>
            <a:r>
              <a:rPr lang="en-US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I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порядка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пластовые интрузии долеритов среднепалеозойского возраста, выходящие на нижнепалеозойскую поверхность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-10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айки среднепалеозойских долеритов: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мощные,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маломощные или не имеющие выхода на дневную поверхность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1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кольцевые структуры: А –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ллараа-Салаа-Мастахская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Б –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Юлэгирская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тратоизогипсы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кровли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джахтарской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свиты среднего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ембрия. </a:t>
            </a:r>
            <a:endParaRPr lang="ru-RU" sz="14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1320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E141AF1-466E-4D9F-B74C-45FFEB47CA13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683569" y="115077"/>
            <a:ext cx="8384232" cy="672872"/>
          </a:xfrm>
        </p:spPr>
        <p:txBody>
          <a:bodyPr/>
          <a:lstStyle/>
          <a:p>
            <a:pPr algn="ctr"/>
            <a:r>
              <a:rPr lang="ru-RU" sz="1800" b="1" dirty="0" smtClean="0"/>
              <a:t>Схема расположения локальных аэромагнитных аномалий по материалам АМС-10 (БГРЭ).</a:t>
            </a:r>
            <a:endParaRPr lang="ru-RU" sz="1800" b="1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24" t="9363" r="-2606" b="31305"/>
          <a:stretch/>
        </p:blipFill>
        <p:spPr>
          <a:xfrm>
            <a:off x="8045091" y="23829"/>
            <a:ext cx="794183" cy="38173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155" y="142429"/>
            <a:ext cx="540941" cy="676176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5523258" y="1575989"/>
            <a:ext cx="329260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accent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окальные аэромагнитные аномалии, выделенные по результатам АМС-10</a:t>
            </a:r>
            <a:endParaRPr lang="ru-RU" sz="1400" b="1" dirty="0">
              <a:solidFill>
                <a:schemeClr val="accent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17762" name="Picture 2" descr="Рис 2_1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97" t="2561" r="5950" b="31692"/>
          <a:stretch/>
        </p:blipFill>
        <p:spPr bwMode="auto">
          <a:xfrm>
            <a:off x="473625" y="1090324"/>
            <a:ext cx="4248472" cy="5544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Рис 2_1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6" t="88706" r="57914" b="6405"/>
          <a:stretch/>
        </p:blipFill>
        <p:spPr bwMode="auto">
          <a:xfrm>
            <a:off x="5276163" y="2276872"/>
            <a:ext cx="3746539" cy="8097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79675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E141AF1-466E-4D9F-B74C-45FFEB47CA13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683568" y="115077"/>
            <a:ext cx="7704855" cy="672872"/>
          </a:xfrm>
        </p:spPr>
        <p:txBody>
          <a:bodyPr/>
          <a:lstStyle/>
          <a:p>
            <a:pPr algn="ctr"/>
            <a:r>
              <a:rPr lang="ru-RU" sz="1800" b="1" dirty="0" smtClean="0"/>
              <a:t>Схема распространения алмазов и ИМК на </a:t>
            </a:r>
            <a:r>
              <a:rPr lang="ru-RU" sz="1800" b="1" dirty="0" err="1" smtClean="0"/>
              <a:t>Юлэгирской</a:t>
            </a:r>
            <a:r>
              <a:rPr lang="ru-RU" sz="1800" b="1" dirty="0" smtClean="0"/>
              <a:t> площади.</a:t>
            </a:r>
            <a:endParaRPr lang="ru-RU" sz="1800" b="1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24" t="9363" r="-2606" b="31305"/>
          <a:stretch/>
        </p:blipFill>
        <p:spPr>
          <a:xfrm>
            <a:off x="8072571" y="115325"/>
            <a:ext cx="794183" cy="38173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155" y="142429"/>
            <a:ext cx="540941" cy="67617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3" t="3151" r="19494" b="36047"/>
          <a:stretch/>
        </p:blipFill>
        <p:spPr>
          <a:xfrm>
            <a:off x="251520" y="944220"/>
            <a:ext cx="5271738" cy="5799480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5523258" y="1575989"/>
            <a:ext cx="3292609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словные обозначения:</a:t>
            </a:r>
          </a:p>
          <a:p>
            <a:pPr algn="just"/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-2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ореолы ИМК: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в кайнозойских коллекторах,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в мезозойских коллекторах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-4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минералогические аномалии ИМК в мезозойских коллекторах (а - пиропы, б -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икроильмениты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):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с содержанием более 100 знаков на пробу,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сохранностью I, II класса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находки алмазов: а - в четвертичных отложениях, б -  в мезозойских отложениях;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непромышленные россыпи алмазов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россыпепроявления алмазов; 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8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- дайки долеритов, выделенные по геолого-геофизическим данным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площадные комплексные геохимические аномалии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типы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исковых обстановок: а – открытые площади, б - закрытые площади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1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кважины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контур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Юлэгирского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рогнозируемого кимберлитового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ля </a:t>
            </a:r>
            <a:endParaRPr lang="ru-RU" sz="14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76" t="63854" r="30448" b="30095"/>
          <a:stretch/>
        </p:blipFill>
        <p:spPr>
          <a:xfrm>
            <a:off x="5523258" y="970540"/>
            <a:ext cx="3528392" cy="512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9391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E141AF1-466E-4D9F-B74C-45FFEB47CA13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744097" y="115077"/>
            <a:ext cx="8323704" cy="672872"/>
          </a:xfrm>
        </p:spPr>
        <p:txBody>
          <a:bodyPr/>
          <a:lstStyle/>
          <a:p>
            <a:pPr algn="ctr"/>
            <a:r>
              <a:rPr lang="ru-RU" sz="1800" b="1" dirty="0"/>
              <a:t>Схема </a:t>
            </a:r>
            <a:r>
              <a:rPr lang="ru-RU" sz="1800" b="1" dirty="0" err="1"/>
              <a:t>проявленности</a:t>
            </a:r>
            <a:r>
              <a:rPr lang="ru-RU" sz="1800" b="1" dirty="0"/>
              <a:t> прогнозных критериев и признаков на  </a:t>
            </a:r>
            <a:r>
              <a:rPr lang="ru-RU" sz="1800" b="1" dirty="0" err="1" smtClean="0"/>
              <a:t>Юлэгирской</a:t>
            </a:r>
            <a:r>
              <a:rPr lang="ru-RU" sz="1800" b="1" dirty="0" smtClean="0"/>
              <a:t> площади.</a:t>
            </a:r>
            <a:endParaRPr lang="ru-RU" sz="1800" b="1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24" t="9363" r="-2606" b="31305"/>
          <a:stretch/>
        </p:blipFill>
        <p:spPr>
          <a:xfrm>
            <a:off x="8045091" y="23829"/>
            <a:ext cx="794183" cy="38173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155" y="142429"/>
            <a:ext cx="540941" cy="676176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5547963" y="929113"/>
            <a:ext cx="3504347" cy="5047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словные обозначения:</a:t>
            </a:r>
          </a:p>
          <a:p>
            <a:pPr algn="just"/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ходки алмазов: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четвертичных отложениях,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мезозойских отложениях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ореолы индикаторных минералов в базальных горизонтах перекрывающих отложений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-4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минералогические аномалии ИМК в мезозойских коллекторах (а - пиропы, б -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икроильмениты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):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-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 содержанием более 100 знаков на пробу,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хранностью I, II класса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кольцевые структуры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 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епромышленные россыпи алмазов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Тюнгская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она разломов II порядка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-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бросы осадочного чехла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ощные дайки среднепалеозойских долеритов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маломощные, или не имеющие выхода на поверхность нижнего палеозоя,  дайки среднепалеозойских долеритов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1-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она суммарной продольной проводимости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  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2-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окальные магнитные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номалии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3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контур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Юлэгирского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рогнозируемого кимберлитового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ля 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4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зопахиты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перекрывающих отложений</a:t>
            </a:r>
            <a:endParaRPr lang="ru-RU" sz="14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25" r="2485" b="38450"/>
          <a:stretch/>
        </p:blipFill>
        <p:spPr>
          <a:xfrm>
            <a:off x="64091" y="992269"/>
            <a:ext cx="5515954" cy="538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512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E141AF1-466E-4D9F-B74C-45FFEB47CA13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683569" y="115077"/>
            <a:ext cx="7776863" cy="672872"/>
          </a:xfrm>
        </p:spPr>
        <p:txBody>
          <a:bodyPr/>
          <a:lstStyle/>
          <a:p>
            <a:pPr algn="ctr"/>
            <a:r>
              <a:rPr lang="ru-RU" sz="1800" b="1" dirty="0" smtClean="0"/>
              <a:t>Схема расположения перспективных площадей на флангах </a:t>
            </a:r>
            <a:r>
              <a:rPr lang="ru-RU" sz="1800" b="1" dirty="0" err="1" smtClean="0"/>
              <a:t>Вилюйско-Мархинской</a:t>
            </a:r>
            <a:r>
              <a:rPr lang="ru-RU" sz="1800" b="1" dirty="0" smtClean="0"/>
              <a:t> зоны.</a:t>
            </a:r>
            <a:endParaRPr lang="ru-RU" sz="1800" b="1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5442493" y="984784"/>
            <a:ext cx="3312367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словные обозначения:</a:t>
            </a:r>
          </a:p>
          <a:p>
            <a:pPr algn="just"/>
            <a:endParaRPr lang="ru-RU" sz="1400" b="1" i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ru-RU" sz="1400" b="1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-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имберлитовые поля (</a:t>
            </a:r>
            <a:r>
              <a:rPr lang="ru-RU" sz="1400" b="1" i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ирнинское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400" b="1" i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кынское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400" b="1" i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юльдюкарское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;</a:t>
            </a:r>
          </a:p>
          <a:p>
            <a:pPr algn="just"/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площади, перспективные по комплексу признаков для выявления новых кимберлитовых полей</a:t>
            </a:r>
          </a:p>
          <a:p>
            <a:pPr algn="just"/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Ю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Юлэгирская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М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ерхнемурбайская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endParaRPr lang="ru-RU" sz="14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24" t="9363" r="-2606" b="31305"/>
          <a:stretch/>
        </p:blipFill>
        <p:spPr>
          <a:xfrm>
            <a:off x="8357769" y="215353"/>
            <a:ext cx="794183" cy="38173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627" y="115078"/>
            <a:ext cx="540941" cy="67617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858" t="81500" r="968" b="13250"/>
          <a:stretch/>
        </p:blipFill>
        <p:spPr>
          <a:xfrm>
            <a:off x="6372200" y="1268760"/>
            <a:ext cx="1656184" cy="36004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00"/>
          <a:stretch/>
        </p:blipFill>
        <p:spPr>
          <a:xfrm>
            <a:off x="323528" y="1045701"/>
            <a:ext cx="4846365" cy="5589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735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half" idx="10"/>
          </p:nvPr>
        </p:nvSpPr>
        <p:spPr>
          <a:xfrm>
            <a:off x="6660232" y="6160156"/>
            <a:ext cx="1656000" cy="396000"/>
          </a:xfrm>
        </p:spPr>
        <p:txBody>
          <a:bodyPr/>
          <a:lstStyle/>
          <a:p>
            <a:pPr algn="ctr"/>
            <a:r>
              <a:rPr lang="en-US" dirty="0"/>
              <a:t>ProtsenkoEV@alrosa.ru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half" idx="12"/>
          </p:nvPr>
        </p:nvSpPr>
        <p:spPr/>
        <p:txBody>
          <a:bodyPr/>
          <a:lstStyle/>
          <a:p>
            <a:r>
              <a:rPr lang="ru-RU" dirty="0" smtClean="0"/>
              <a:t>Спасибо за внимание!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4"/>
          </p:nvPr>
        </p:nvSpPr>
        <p:spPr>
          <a:xfrm>
            <a:off x="3563904" y="6160156"/>
            <a:ext cx="2483992" cy="396000"/>
          </a:xfrm>
        </p:spPr>
        <p:txBody>
          <a:bodyPr/>
          <a:lstStyle/>
          <a:p>
            <a:pPr algn="ctr"/>
            <a:r>
              <a:rPr lang="ru-RU" dirty="0" smtClean="0"/>
              <a:t>г. Мирный, Республика Саха (Якутия)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5"/>
          </p:nvPr>
        </p:nvSpPr>
        <p:spPr>
          <a:xfrm>
            <a:off x="683568" y="6160156"/>
            <a:ext cx="2268000" cy="396000"/>
          </a:xfrm>
        </p:spPr>
        <p:txBody>
          <a:bodyPr/>
          <a:lstStyle/>
          <a:p>
            <a:pPr algn="ctr"/>
            <a:r>
              <a:rPr lang="ru-RU" dirty="0" smtClean="0"/>
              <a:t>НИГП АК «АЛРОСА» (ПАО)</a:t>
            </a:r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742363" y="6526213"/>
            <a:ext cx="401637" cy="217487"/>
          </a:xfrm>
        </p:spPr>
        <p:txBody>
          <a:bodyPr/>
          <a:lstStyle/>
          <a:p>
            <a:pPr marL="0" marR="0" lvl="0" indent="0" algn="l" defTabSz="9128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141AF1-466E-4D9F-B74C-45FFEB47CA13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280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7693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E141AF1-466E-4D9F-B74C-45FFEB47CA13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683569" y="115077"/>
            <a:ext cx="7776863" cy="672872"/>
          </a:xfrm>
        </p:spPr>
        <p:txBody>
          <a:bodyPr/>
          <a:lstStyle/>
          <a:p>
            <a:pPr algn="ctr"/>
            <a:r>
              <a:rPr lang="ru-RU" sz="1800" b="1" dirty="0" smtClean="0"/>
              <a:t>Структурно-тектоническая схема </a:t>
            </a:r>
            <a:r>
              <a:rPr lang="ru-RU" sz="1800" b="1" dirty="0" err="1" smtClean="0"/>
              <a:t>Вилюйско-Мархинской</a:t>
            </a:r>
            <a:r>
              <a:rPr lang="ru-RU" sz="1800" b="1" dirty="0" smtClean="0"/>
              <a:t> зоны.</a:t>
            </a:r>
            <a:endParaRPr lang="ru-RU" sz="1800" b="1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5442493" y="984784"/>
            <a:ext cx="3312367" cy="54784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словные обозначения:</a:t>
            </a:r>
          </a:p>
          <a:p>
            <a:pPr algn="just"/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-2 –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дпорядковые платформенные структуры:</a:t>
            </a:r>
          </a:p>
          <a:p>
            <a:pPr algn="just"/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ложительные (</a:t>
            </a:r>
            <a:r>
              <a:rPr lang="ru-RU" sz="1400" b="1" i="1" dirty="0" smtClean="0">
                <a:solidFill>
                  <a:srgbClr val="DAA6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А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набарская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нтеклиза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400" b="1" i="1" dirty="0" smtClean="0">
                <a:solidFill>
                  <a:srgbClr val="DAA6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БА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пско-Ботуобинская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нтеклиза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,</a:t>
            </a:r>
            <a:endParaRPr lang="ru-RU" sz="14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 –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рицательные (</a:t>
            </a:r>
            <a:r>
              <a:rPr lang="ru-RU" sz="1400" b="1" i="1" dirty="0" smtClean="0">
                <a:solidFill>
                  <a:srgbClr val="DAA6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С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– Тунгусская 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инеклиза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400" b="1" i="1" dirty="0" smtClean="0">
                <a:solidFill>
                  <a:srgbClr val="DAA6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– Вилюйская 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инеклиза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, </a:t>
            </a:r>
          </a:p>
          <a:p>
            <a:pPr algn="just"/>
            <a:r>
              <a:rPr lang="ru-RU" sz="1400" b="1" i="1" dirty="0" smtClean="0">
                <a:solidFill>
                  <a:srgbClr val="DAA6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С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югджерская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седловина;</a:t>
            </a:r>
          </a:p>
          <a:p>
            <a:pPr algn="just"/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-5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– зоны разломов: </a:t>
            </a:r>
          </a:p>
          <a:p>
            <a:pPr algn="just"/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первого порядка (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-М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илюйско-Мархинская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-Ж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пигайско-Жиганская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,</a:t>
            </a:r>
          </a:p>
          <a:p>
            <a:pPr algn="just"/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отдельные ветви В-М зоны (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осевая,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западная),</a:t>
            </a:r>
          </a:p>
          <a:p>
            <a:pPr algn="just"/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зоны разломов второго порядка </a:t>
            </a:r>
          </a:p>
          <a:p>
            <a:pPr algn="just"/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400" b="1" i="1" dirty="0" smtClean="0">
                <a:solidFill>
                  <a:srgbClr val="247EC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юнгская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400" b="1" i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-М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Средне-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архинская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400" b="1" i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Ыгыаттинская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400" b="1" i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атырская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</a:p>
          <a:p>
            <a:pPr algn="just"/>
            <a:r>
              <a:rPr lang="ru-RU" sz="1400" b="1" i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кугутская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400" b="1" i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илюйчанская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;</a:t>
            </a:r>
          </a:p>
          <a:p>
            <a:pPr algn="just"/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– основные глубинные разломы;</a:t>
            </a:r>
          </a:p>
          <a:p>
            <a:pPr algn="just"/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кимберлитовые поля (</a:t>
            </a:r>
            <a:r>
              <a:rPr lang="ru-RU" sz="1400" b="1" i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ирнинское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400" b="1" i="1" dirty="0" smtClean="0">
                <a:solidFill>
                  <a:srgbClr val="9148C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кынское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400" b="1" i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юльдюкарское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;</a:t>
            </a:r>
          </a:p>
          <a:p>
            <a:pPr algn="just"/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перспективные площади </a:t>
            </a:r>
          </a:p>
          <a:p>
            <a:pPr algn="just"/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400" b="1" i="1" dirty="0" smtClean="0">
                <a:solidFill>
                  <a:srgbClr val="FCA0F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Ю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Юлэгирская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400" b="1" i="1" dirty="0" smtClean="0">
                <a:solidFill>
                  <a:srgbClr val="FCA0F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М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ерхнемурбайская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endParaRPr lang="ru-RU" sz="14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24" t="9363" r="-2606" b="31305"/>
          <a:stretch/>
        </p:blipFill>
        <p:spPr>
          <a:xfrm>
            <a:off x="8357769" y="215353"/>
            <a:ext cx="794183" cy="38173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627" y="115078"/>
            <a:ext cx="540941" cy="67617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0" t="650" r="5425" b="18500"/>
          <a:stretch/>
        </p:blipFill>
        <p:spPr>
          <a:xfrm>
            <a:off x="649280" y="1090325"/>
            <a:ext cx="4392488" cy="5544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651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E141AF1-466E-4D9F-B74C-45FFEB47CA1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683569" y="115077"/>
            <a:ext cx="7704855" cy="672872"/>
          </a:xfrm>
        </p:spPr>
        <p:txBody>
          <a:bodyPr/>
          <a:lstStyle/>
          <a:p>
            <a:pPr algn="ctr"/>
            <a:r>
              <a:rPr lang="ru-RU" sz="1800" b="1" dirty="0" smtClean="0"/>
              <a:t>Схема строения кристаллического фундамента.</a:t>
            </a:r>
            <a:endParaRPr lang="ru-RU" sz="1800" b="1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24" t="9363" r="-2606" b="31305"/>
          <a:stretch/>
        </p:blipFill>
        <p:spPr>
          <a:xfrm>
            <a:off x="8273618" y="230681"/>
            <a:ext cx="794183" cy="38173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155" y="142429"/>
            <a:ext cx="540941" cy="67617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50" t="3262" r="7476" b="2148"/>
          <a:stretch/>
        </p:blipFill>
        <p:spPr>
          <a:xfrm>
            <a:off x="827584" y="982086"/>
            <a:ext cx="6912768" cy="5543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049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E141AF1-466E-4D9F-B74C-45FFEB47CA13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927223" y="147397"/>
            <a:ext cx="7376121" cy="672872"/>
          </a:xfrm>
        </p:spPr>
        <p:txBody>
          <a:bodyPr/>
          <a:lstStyle/>
          <a:p>
            <a:pPr algn="ctr"/>
            <a:r>
              <a:rPr lang="ru-RU" sz="1800" b="1" dirty="0" smtClean="0"/>
              <a:t>Структурно-тектоническая схема </a:t>
            </a:r>
            <a:r>
              <a:rPr lang="ru-RU" sz="1800" b="1" dirty="0" err="1" smtClean="0"/>
              <a:t>Верхнемурбайской</a:t>
            </a:r>
            <a:r>
              <a:rPr lang="ru-RU" sz="1800" b="1" dirty="0" smtClean="0"/>
              <a:t> </a:t>
            </a:r>
            <a:r>
              <a:rPr lang="ru-RU" sz="1800" b="1" dirty="0"/>
              <a:t>площади.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24" t="9363" r="-2606" b="31305"/>
          <a:stretch/>
        </p:blipFill>
        <p:spPr>
          <a:xfrm>
            <a:off x="8045091" y="23829"/>
            <a:ext cx="794183" cy="38173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155" y="142429"/>
            <a:ext cx="540941" cy="676176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203156" y="5496874"/>
            <a:ext cx="854530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словные обозначения:</a:t>
            </a:r>
          </a:p>
          <a:p>
            <a:pPr algn="just"/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-2 –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оны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ломов: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-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 порядка (В-М –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илюйско-Мархинская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А-В –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нгаро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Вилюйская, Н-Л –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пско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Ленская),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-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илюйчанская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зона разломов II порядка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-4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разломы осадочного чехла: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-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разломные нарушения, выделенные по геофизическим данным,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-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рабены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илюйско-Мархинской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зоны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-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айки среднепалеозойских долеритов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-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трубки взрыва основного состава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-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тратоизогипсы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кровли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етегерской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свиты среднего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ембрия</a:t>
            </a:r>
            <a:endParaRPr lang="ru-RU" sz="14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3" name="Группа 22"/>
          <p:cNvGrpSpPr/>
          <p:nvPr/>
        </p:nvGrpSpPr>
        <p:grpSpPr>
          <a:xfrm>
            <a:off x="8047361" y="1279363"/>
            <a:ext cx="907753" cy="3170503"/>
            <a:chOff x="8236247" y="1052736"/>
            <a:chExt cx="907753" cy="3170503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17" t="38861" r="82922" b="56300"/>
            <a:stretch/>
          </p:blipFill>
          <p:spPr>
            <a:xfrm>
              <a:off x="8269663" y="1052736"/>
              <a:ext cx="792088" cy="513235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962" t="38861" r="45476" b="57065"/>
            <a:stretch/>
          </p:blipFill>
          <p:spPr>
            <a:xfrm>
              <a:off x="8289989" y="2329518"/>
              <a:ext cx="792089" cy="432049"/>
            </a:xfrm>
            <a:prstGeom prst="rect">
              <a:avLst/>
            </a:prstGeom>
          </p:spPr>
        </p:pic>
        <p:pic>
          <p:nvPicPr>
            <p:cNvPr id="11" name="Рисунок 10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329" t="39461" r="56149" b="57145"/>
            <a:stretch/>
          </p:blipFill>
          <p:spPr>
            <a:xfrm>
              <a:off x="8279903" y="1960942"/>
              <a:ext cx="864097" cy="360040"/>
            </a:xfrm>
            <a:prstGeom prst="rect">
              <a:avLst/>
            </a:prstGeom>
          </p:spPr>
        </p:pic>
        <p:pic>
          <p:nvPicPr>
            <p:cNvPr id="12" name="Рисунок 11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735" t="39382" r="69704" b="57591"/>
            <a:stretch/>
          </p:blipFill>
          <p:spPr>
            <a:xfrm>
              <a:off x="8311295" y="1523750"/>
              <a:ext cx="792089" cy="321074"/>
            </a:xfrm>
            <a:prstGeom prst="rect">
              <a:avLst/>
            </a:prstGeom>
          </p:spPr>
        </p:pic>
        <p:pic>
          <p:nvPicPr>
            <p:cNvPr id="13" name="Рисунок 12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220" t="38861" r="20512" b="57065"/>
            <a:stretch/>
          </p:blipFill>
          <p:spPr>
            <a:xfrm>
              <a:off x="8924783" y="3235661"/>
              <a:ext cx="178601" cy="453707"/>
            </a:xfrm>
            <a:prstGeom prst="rect">
              <a:avLst/>
            </a:prstGeom>
          </p:spPr>
        </p:pic>
        <p:pic>
          <p:nvPicPr>
            <p:cNvPr id="14" name="Рисунок 13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934" t="40140" r="32145" b="57823"/>
            <a:stretch/>
          </p:blipFill>
          <p:spPr>
            <a:xfrm>
              <a:off x="8969299" y="2934431"/>
              <a:ext cx="144016" cy="216025"/>
            </a:xfrm>
            <a:prstGeom prst="rect">
              <a:avLst/>
            </a:prstGeom>
          </p:spPr>
        </p:pic>
        <p:pic>
          <p:nvPicPr>
            <p:cNvPr id="15" name="Рисунок 14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6220" t="39382" r="35870" b="57224"/>
            <a:stretch/>
          </p:blipFill>
          <p:spPr>
            <a:xfrm>
              <a:off x="8299279" y="2875620"/>
              <a:ext cx="593201" cy="360041"/>
            </a:xfrm>
            <a:prstGeom prst="rect">
              <a:avLst/>
            </a:prstGeom>
          </p:spPr>
        </p:pic>
        <p:pic>
          <p:nvPicPr>
            <p:cNvPr id="18" name="Рисунок 17"/>
            <p:cNvPicPr/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033" t="41308" r="32636" b="55011"/>
            <a:stretch/>
          </p:blipFill>
          <p:spPr bwMode="auto">
            <a:xfrm>
              <a:off x="8299279" y="3791667"/>
              <a:ext cx="620514" cy="431572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4" name="Рисунок 3"/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8207" t="38998" r="23273" b="57299"/>
            <a:stretch/>
          </p:blipFill>
          <p:spPr>
            <a:xfrm>
              <a:off x="8236247" y="3284984"/>
              <a:ext cx="658025" cy="404384"/>
            </a:xfrm>
            <a:prstGeom prst="rect">
              <a:avLst/>
            </a:prstGeom>
          </p:spPr>
        </p:pic>
        <p:pic>
          <p:nvPicPr>
            <p:cNvPr id="22" name="Рисунок 21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8512" t="38612" r="8519" b="56300"/>
            <a:stretch/>
          </p:blipFill>
          <p:spPr>
            <a:xfrm>
              <a:off x="8923891" y="3719183"/>
              <a:ext cx="208016" cy="504056"/>
            </a:xfrm>
            <a:prstGeom prst="rect">
              <a:avLst/>
            </a:prstGeom>
          </p:spPr>
        </p:pic>
      </p:grp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23" t="30050" r="15854" b="64349"/>
          <a:stretch/>
        </p:blipFill>
        <p:spPr>
          <a:xfrm>
            <a:off x="988880" y="4736576"/>
            <a:ext cx="6687818" cy="810780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24" t="1701" r="8424" b="67850"/>
          <a:stretch/>
        </p:blipFill>
        <p:spPr>
          <a:xfrm>
            <a:off x="620487" y="942173"/>
            <a:ext cx="7424604" cy="3844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821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E141AF1-466E-4D9F-B74C-45FFEB47CA13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683569" y="115077"/>
            <a:ext cx="8384232" cy="672872"/>
          </a:xfrm>
        </p:spPr>
        <p:txBody>
          <a:bodyPr/>
          <a:lstStyle/>
          <a:p>
            <a:pPr algn="ctr"/>
            <a:r>
              <a:rPr lang="ru-RU" sz="1800" b="1" dirty="0" smtClean="0"/>
              <a:t>Палеотектоническая схема </a:t>
            </a:r>
            <a:r>
              <a:rPr lang="ru-RU" sz="1800" b="1" dirty="0" err="1" smtClean="0"/>
              <a:t>Верхнемурбайской</a:t>
            </a:r>
            <a:r>
              <a:rPr lang="ru-RU" sz="1800" b="1" dirty="0" smtClean="0"/>
              <a:t> </a:t>
            </a:r>
            <a:r>
              <a:rPr lang="ru-RU" sz="1800" b="1" dirty="0"/>
              <a:t>площади.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24" t="9363" r="-2606" b="31305"/>
          <a:stretch/>
        </p:blipFill>
        <p:spPr>
          <a:xfrm>
            <a:off x="8045091" y="23829"/>
            <a:ext cx="794183" cy="38173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155" y="142429"/>
            <a:ext cx="540941" cy="676176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7968165" y="1124744"/>
            <a:ext cx="948033" cy="3200318"/>
            <a:chOff x="8195967" y="1052736"/>
            <a:chExt cx="948033" cy="3200318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9487" t="38861" r="11154" b="57065"/>
            <a:stretch/>
          </p:blipFill>
          <p:spPr>
            <a:xfrm>
              <a:off x="8195967" y="3789017"/>
              <a:ext cx="753842" cy="464037"/>
            </a:xfrm>
            <a:prstGeom prst="rect">
              <a:avLst/>
            </a:prstGeom>
          </p:spPr>
        </p:pic>
        <p:pic>
          <p:nvPicPr>
            <p:cNvPr id="12" name="Рисунок 11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17" t="38861" r="82922" b="56300"/>
            <a:stretch/>
          </p:blipFill>
          <p:spPr>
            <a:xfrm>
              <a:off x="8269663" y="1052736"/>
              <a:ext cx="792088" cy="513235"/>
            </a:xfrm>
            <a:prstGeom prst="rect">
              <a:avLst/>
            </a:prstGeom>
          </p:spPr>
        </p:pic>
        <p:pic>
          <p:nvPicPr>
            <p:cNvPr id="13" name="Рисунок 12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962" t="38861" r="45476" b="57065"/>
            <a:stretch/>
          </p:blipFill>
          <p:spPr>
            <a:xfrm>
              <a:off x="8289989" y="2329518"/>
              <a:ext cx="792089" cy="432049"/>
            </a:xfrm>
            <a:prstGeom prst="rect">
              <a:avLst/>
            </a:prstGeom>
          </p:spPr>
        </p:pic>
        <p:pic>
          <p:nvPicPr>
            <p:cNvPr id="14" name="Рисунок 13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329" t="39461" r="56149" b="57145"/>
            <a:stretch/>
          </p:blipFill>
          <p:spPr>
            <a:xfrm>
              <a:off x="8279903" y="1960942"/>
              <a:ext cx="864097" cy="360040"/>
            </a:xfrm>
            <a:prstGeom prst="rect">
              <a:avLst/>
            </a:prstGeom>
          </p:spPr>
        </p:pic>
        <p:pic>
          <p:nvPicPr>
            <p:cNvPr id="15" name="Рисунок 14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735" t="39382" r="69704" b="57591"/>
            <a:stretch/>
          </p:blipFill>
          <p:spPr>
            <a:xfrm>
              <a:off x="8311295" y="1523750"/>
              <a:ext cx="792089" cy="321074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220" t="38861" r="20512" b="57065"/>
            <a:stretch/>
          </p:blipFill>
          <p:spPr>
            <a:xfrm>
              <a:off x="8924783" y="3235661"/>
              <a:ext cx="178601" cy="453707"/>
            </a:xfrm>
            <a:prstGeom prst="rect">
              <a:avLst/>
            </a:prstGeom>
          </p:spPr>
        </p:pic>
        <p:pic>
          <p:nvPicPr>
            <p:cNvPr id="17" name="Рисунок 16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934" t="40140" r="32145" b="57823"/>
            <a:stretch/>
          </p:blipFill>
          <p:spPr>
            <a:xfrm>
              <a:off x="8969299" y="2934431"/>
              <a:ext cx="144016" cy="216025"/>
            </a:xfrm>
            <a:prstGeom prst="rect">
              <a:avLst/>
            </a:prstGeom>
          </p:spPr>
        </p:pic>
        <p:pic>
          <p:nvPicPr>
            <p:cNvPr id="18" name="Рисунок 1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6220" t="39382" r="35870" b="57224"/>
            <a:stretch/>
          </p:blipFill>
          <p:spPr>
            <a:xfrm>
              <a:off x="8299279" y="2875620"/>
              <a:ext cx="593201" cy="360041"/>
            </a:xfrm>
            <a:prstGeom prst="rect">
              <a:avLst/>
            </a:prstGeom>
          </p:spPr>
        </p:pic>
        <p:pic>
          <p:nvPicPr>
            <p:cNvPr id="20" name="Рисунок 19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8207" t="38998" r="23273" b="57299"/>
            <a:stretch/>
          </p:blipFill>
          <p:spPr>
            <a:xfrm>
              <a:off x="8236247" y="3284984"/>
              <a:ext cx="658025" cy="404384"/>
            </a:xfrm>
            <a:prstGeom prst="rect">
              <a:avLst/>
            </a:prstGeom>
          </p:spPr>
        </p:pic>
        <p:pic>
          <p:nvPicPr>
            <p:cNvPr id="21" name="Рисунок 20"/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8512" t="38612" r="8519" b="56300"/>
            <a:stretch/>
          </p:blipFill>
          <p:spPr>
            <a:xfrm>
              <a:off x="8923891" y="3719183"/>
              <a:ext cx="208016" cy="504056"/>
            </a:xfrm>
            <a:prstGeom prst="rect">
              <a:avLst/>
            </a:prstGeom>
          </p:spPr>
        </p:pic>
      </p:grpSp>
      <p:sp>
        <p:nvSpPr>
          <p:cNvPr id="22" name="Прямоугольник 21"/>
          <p:cNvSpPr/>
          <p:nvPr/>
        </p:nvSpPr>
        <p:spPr>
          <a:xfrm>
            <a:off x="203156" y="5315253"/>
            <a:ext cx="876133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словные обозначения:</a:t>
            </a:r>
          </a:p>
          <a:p>
            <a:pPr algn="just"/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-2 –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оны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ломов: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-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 порядка (В-М –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илюйско-Мархинская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А-В –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нгаро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Вилюйская, Н-Л –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пско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Ленская),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-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илюйчанская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зона разломов II порядка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-4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разломы осадочного чехла: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-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разломные нарушения, выделенные по геофизическим данным,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-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рабены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илюйско-Мархинской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зоны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-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айки среднепалеозойских долеритов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-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трубки взрыва основного состава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-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зопахиты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нижнепалеозойских отложений от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овли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етегерской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свиты среднего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ембрия</a:t>
            </a:r>
            <a:endParaRPr lang="ru-RU" sz="14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13" t="32731" r="13227" b="61550"/>
          <a:stretch/>
        </p:blipFill>
        <p:spPr>
          <a:xfrm>
            <a:off x="1656470" y="4725144"/>
            <a:ext cx="5854703" cy="66446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20" t="2751" r="8813" b="68429"/>
          <a:stretch/>
        </p:blipFill>
        <p:spPr>
          <a:xfrm>
            <a:off x="657265" y="1060471"/>
            <a:ext cx="7183901" cy="3546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68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E141AF1-466E-4D9F-B74C-45FFEB47CA13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683569" y="115077"/>
            <a:ext cx="8384232" cy="672872"/>
          </a:xfrm>
        </p:spPr>
        <p:txBody>
          <a:bodyPr/>
          <a:lstStyle/>
          <a:p>
            <a:pPr algn="ctr"/>
            <a:r>
              <a:rPr lang="ru-RU" sz="1800" b="1" dirty="0" smtClean="0"/>
              <a:t>Схема </a:t>
            </a:r>
            <a:r>
              <a:rPr lang="ru-RU" sz="1800" b="1" dirty="0" err="1" smtClean="0"/>
              <a:t>магматизма</a:t>
            </a:r>
            <a:r>
              <a:rPr lang="ru-RU" sz="1800" b="1" dirty="0" smtClean="0"/>
              <a:t> </a:t>
            </a:r>
            <a:r>
              <a:rPr lang="ru-RU" sz="1800" b="1" dirty="0" err="1" smtClean="0"/>
              <a:t>Верхнемурбайской</a:t>
            </a:r>
            <a:r>
              <a:rPr lang="ru-RU" sz="1800" b="1" dirty="0" smtClean="0"/>
              <a:t> </a:t>
            </a:r>
            <a:r>
              <a:rPr lang="ru-RU" sz="1800" b="1" dirty="0"/>
              <a:t>площади.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24" t="9363" r="-2606" b="31305"/>
          <a:stretch/>
        </p:blipFill>
        <p:spPr>
          <a:xfrm>
            <a:off x="8045091" y="23829"/>
            <a:ext cx="794183" cy="38173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155" y="142429"/>
            <a:ext cx="540941" cy="676176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7968165" y="1124744"/>
            <a:ext cx="948033" cy="3200318"/>
            <a:chOff x="8195967" y="1052736"/>
            <a:chExt cx="948033" cy="3200318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9487" t="38861" r="11154" b="57065"/>
            <a:stretch/>
          </p:blipFill>
          <p:spPr>
            <a:xfrm>
              <a:off x="8195967" y="3789017"/>
              <a:ext cx="753842" cy="464037"/>
            </a:xfrm>
            <a:prstGeom prst="rect">
              <a:avLst/>
            </a:prstGeom>
          </p:spPr>
        </p:pic>
        <p:pic>
          <p:nvPicPr>
            <p:cNvPr id="12" name="Рисунок 11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17" t="38861" r="82922" b="56300"/>
            <a:stretch/>
          </p:blipFill>
          <p:spPr>
            <a:xfrm>
              <a:off x="8269663" y="1052736"/>
              <a:ext cx="792088" cy="513235"/>
            </a:xfrm>
            <a:prstGeom prst="rect">
              <a:avLst/>
            </a:prstGeom>
          </p:spPr>
        </p:pic>
        <p:pic>
          <p:nvPicPr>
            <p:cNvPr id="13" name="Рисунок 12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962" t="38861" r="45476" b="57065"/>
            <a:stretch/>
          </p:blipFill>
          <p:spPr>
            <a:xfrm>
              <a:off x="8289989" y="2329518"/>
              <a:ext cx="792089" cy="432049"/>
            </a:xfrm>
            <a:prstGeom prst="rect">
              <a:avLst/>
            </a:prstGeom>
          </p:spPr>
        </p:pic>
        <p:pic>
          <p:nvPicPr>
            <p:cNvPr id="14" name="Рисунок 13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329" t="39461" r="56149" b="57145"/>
            <a:stretch/>
          </p:blipFill>
          <p:spPr>
            <a:xfrm>
              <a:off x="8279903" y="1960942"/>
              <a:ext cx="864097" cy="360040"/>
            </a:xfrm>
            <a:prstGeom prst="rect">
              <a:avLst/>
            </a:prstGeom>
          </p:spPr>
        </p:pic>
        <p:pic>
          <p:nvPicPr>
            <p:cNvPr id="15" name="Рисунок 14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735" t="39382" r="69704" b="57591"/>
            <a:stretch/>
          </p:blipFill>
          <p:spPr>
            <a:xfrm>
              <a:off x="8311295" y="1523750"/>
              <a:ext cx="792089" cy="321074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220" t="38861" r="20512" b="57065"/>
            <a:stretch/>
          </p:blipFill>
          <p:spPr>
            <a:xfrm>
              <a:off x="8924783" y="3235661"/>
              <a:ext cx="178601" cy="453707"/>
            </a:xfrm>
            <a:prstGeom prst="rect">
              <a:avLst/>
            </a:prstGeom>
          </p:spPr>
        </p:pic>
        <p:pic>
          <p:nvPicPr>
            <p:cNvPr id="17" name="Рисунок 16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934" t="40140" r="32145" b="57823"/>
            <a:stretch/>
          </p:blipFill>
          <p:spPr>
            <a:xfrm>
              <a:off x="8969299" y="2934431"/>
              <a:ext cx="144016" cy="216025"/>
            </a:xfrm>
            <a:prstGeom prst="rect">
              <a:avLst/>
            </a:prstGeom>
          </p:spPr>
        </p:pic>
        <p:pic>
          <p:nvPicPr>
            <p:cNvPr id="18" name="Рисунок 1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6220" t="39382" r="35870" b="57224"/>
            <a:stretch/>
          </p:blipFill>
          <p:spPr>
            <a:xfrm>
              <a:off x="8299279" y="2875620"/>
              <a:ext cx="593201" cy="360041"/>
            </a:xfrm>
            <a:prstGeom prst="rect">
              <a:avLst/>
            </a:prstGeom>
          </p:spPr>
        </p:pic>
        <p:pic>
          <p:nvPicPr>
            <p:cNvPr id="20" name="Рисунок 19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8207" t="38998" r="23273" b="57299"/>
            <a:stretch/>
          </p:blipFill>
          <p:spPr>
            <a:xfrm>
              <a:off x="8236247" y="3284984"/>
              <a:ext cx="658025" cy="404384"/>
            </a:xfrm>
            <a:prstGeom prst="rect">
              <a:avLst/>
            </a:prstGeom>
          </p:spPr>
        </p:pic>
        <p:pic>
          <p:nvPicPr>
            <p:cNvPr id="21" name="Рисунок 20"/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8512" t="38612" r="8519" b="56300"/>
            <a:stretch/>
          </p:blipFill>
          <p:spPr>
            <a:xfrm>
              <a:off x="8923891" y="3719183"/>
              <a:ext cx="208016" cy="504056"/>
            </a:xfrm>
            <a:prstGeom prst="rect">
              <a:avLst/>
            </a:prstGeom>
          </p:spPr>
        </p:pic>
      </p:grpSp>
      <p:sp>
        <p:nvSpPr>
          <p:cNvPr id="22" name="Прямоугольник 21"/>
          <p:cNvSpPr/>
          <p:nvPr/>
        </p:nvSpPr>
        <p:spPr>
          <a:xfrm>
            <a:off x="203156" y="5315253"/>
            <a:ext cx="876133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словные обозначения:</a:t>
            </a:r>
          </a:p>
          <a:p>
            <a:pPr algn="just"/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-2 –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оны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ломов: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-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 порядка (В-М –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илюйско-Мархинская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А-В –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нгаро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Вилюйская, Н-Л –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пско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Ленская),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-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илюйчанская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зона разломов II порядка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-4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разломы осадочного чехла: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-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разломные нарушения, выделенные по геофизическим данным,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-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рабены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илюйско-Мархинской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зоны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-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айки среднепалеозойских долеритов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-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трубки взрыва основного состава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-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зопахиты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долеритов в отложениях нижнего кембрия</a:t>
            </a:r>
            <a:endParaRPr lang="ru-RU" sz="14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88" t="1902" r="7720" b="60960"/>
          <a:stretch/>
        </p:blipFill>
        <p:spPr>
          <a:xfrm>
            <a:off x="443090" y="879197"/>
            <a:ext cx="7318969" cy="4488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490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E141AF1-466E-4D9F-B74C-45FFEB47CA13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650425" y="236145"/>
            <a:ext cx="8384232" cy="672872"/>
          </a:xfrm>
        </p:spPr>
        <p:txBody>
          <a:bodyPr/>
          <a:lstStyle/>
          <a:p>
            <a:pPr algn="ctr"/>
            <a:r>
              <a:rPr lang="ru-RU" sz="1800" b="1" dirty="0"/>
              <a:t> </a:t>
            </a:r>
            <a:r>
              <a:rPr lang="ru-RU" sz="1800" b="1" dirty="0" err="1"/>
              <a:t>Космоструктурная</a:t>
            </a:r>
            <a:r>
              <a:rPr lang="ru-RU" sz="1800" b="1" dirty="0"/>
              <a:t> схема участка детализации в пределах </a:t>
            </a:r>
            <a:r>
              <a:rPr lang="ru-RU" sz="1800" b="1" dirty="0" err="1" smtClean="0"/>
              <a:t>Верхнемурбайской</a:t>
            </a:r>
            <a:r>
              <a:rPr lang="ru-RU" sz="1800" b="1" dirty="0" smtClean="0"/>
              <a:t> </a:t>
            </a:r>
            <a:r>
              <a:rPr lang="ru-RU" sz="1800" b="1" dirty="0"/>
              <a:t>площади.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24" t="9363" r="-2606" b="31305"/>
          <a:stretch/>
        </p:blipFill>
        <p:spPr>
          <a:xfrm>
            <a:off x="8240474" y="142429"/>
            <a:ext cx="794183" cy="38173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155" y="142429"/>
            <a:ext cx="540941" cy="676176"/>
          </a:xfrm>
          <a:prstGeom prst="rect">
            <a:avLst/>
          </a:prstGeom>
        </p:spPr>
      </p:pic>
      <p:pic>
        <p:nvPicPr>
          <p:cNvPr id="8" name="Рисунок 7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31" t="1020" r="6682" b="62818"/>
          <a:stretch/>
        </p:blipFill>
        <p:spPr bwMode="auto">
          <a:xfrm>
            <a:off x="988308" y="1053277"/>
            <a:ext cx="7056783" cy="444279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323528" y="5572075"/>
            <a:ext cx="834217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словные обозначения:</a:t>
            </a:r>
          </a:p>
          <a:p>
            <a:pPr algn="just"/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оны разрывных нарушений регионального уровня, 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– прочие разломы, 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– кольцевые структуры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рового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типа, 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– участок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детализационных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работ, 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– перспективный участок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урбайский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1</a:t>
            </a:r>
          </a:p>
          <a:p>
            <a:pPr algn="just"/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63222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E141AF1-466E-4D9F-B74C-45FFEB47CA13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691078" y="207605"/>
            <a:ext cx="7736161" cy="672872"/>
          </a:xfrm>
        </p:spPr>
        <p:txBody>
          <a:bodyPr/>
          <a:lstStyle/>
          <a:p>
            <a:pPr algn="ctr"/>
            <a:r>
              <a:rPr lang="ru-RU" sz="1800" b="1" dirty="0" smtClean="0"/>
              <a:t>Схема распространения алмазов и ИМК на </a:t>
            </a:r>
            <a:r>
              <a:rPr lang="ru-RU" sz="1800" b="1" dirty="0" err="1" smtClean="0"/>
              <a:t>Верхнемурбайской</a:t>
            </a:r>
            <a:r>
              <a:rPr lang="ru-RU" sz="1800" b="1" dirty="0" smtClean="0"/>
              <a:t> площади.</a:t>
            </a:r>
            <a:endParaRPr lang="ru-RU" sz="1800" b="1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24" t="9363" r="-2606" b="31305"/>
          <a:stretch/>
        </p:blipFill>
        <p:spPr>
          <a:xfrm>
            <a:off x="8045091" y="23829"/>
            <a:ext cx="794183" cy="38173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155" y="142429"/>
            <a:ext cx="540941" cy="676176"/>
          </a:xfrm>
          <a:prstGeom prst="rect">
            <a:avLst/>
          </a:prstGeom>
        </p:spPr>
      </p:pic>
      <p:sp>
        <p:nvSpPr>
          <p:cNvPr id="31" name="Прямоугольник 30"/>
          <p:cNvSpPr/>
          <p:nvPr/>
        </p:nvSpPr>
        <p:spPr>
          <a:xfrm>
            <a:off x="446960" y="5579536"/>
            <a:ext cx="849694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словные обозначения:</a:t>
            </a:r>
          </a:p>
          <a:p>
            <a:pPr algn="just"/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-3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находки алмазов и ИМК: 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отдельные находки алмазов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находки ИМК: а) – пиропа, б) –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икроильменита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в) –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хромшпинелида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г) –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хромдиопсида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держание ИМК: а) до 10 знаков на пробу, б) – от 10 до 50 знаков на пробу, в) – более 100 знаков на пробу; г) – со следами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ипергенных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зменений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типы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исковых обстановок: 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 –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крытые площади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б -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крытые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лощади    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9" t="9345" r="7866" b="58399"/>
          <a:stretch/>
        </p:blipFill>
        <p:spPr>
          <a:xfrm>
            <a:off x="180682" y="957086"/>
            <a:ext cx="8815686" cy="4720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516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E141AF1-466E-4D9F-B74C-45FFEB47CA13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683569" y="115077"/>
            <a:ext cx="7704855" cy="672872"/>
          </a:xfrm>
        </p:spPr>
        <p:txBody>
          <a:bodyPr/>
          <a:lstStyle/>
          <a:p>
            <a:pPr algn="ctr"/>
            <a:r>
              <a:rPr lang="ru-RU" sz="1800" b="1" dirty="0" smtClean="0"/>
              <a:t>Схема </a:t>
            </a:r>
            <a:r>
              <a:rPr lang="ru-RU" sz="1800" b="1" dirty="0" err="1" smtClean="0"/>
              <a:t>проявленности</a:t>
            </a:r>
            <a:r>
              <a:rPr lang="ru-RU" sz="1800" b="1" dirty="0" smtClean="0"/>
              <a:t> прогнозных критериев и признаков на </a:t>
            </a:r>
            <a:r>
              <a:rPr lang="ru-RU" sz="1800" b="1" dirty="0" err="1" smtClean="0"/>
              <a:t>Верхнемурбайской</a:t>
            </a:r>
            <a:r>
              <a:rPr lang="ru-RU" sz="1800" b="1" dirty="0" smtClean="0"/>
              <a:t> </a:t>
            </a:r>
            <a:r>
              <a:rPr lang="ru-RU" sz="1800" b="1" dirty="0"/>
              <a:t>площади.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24" t="9363" r="-2606" b="31305"/>
          <a:stretch/>
        </p:blipFill>
        <p:spPr>
          <a:xfrm>
            <a:off x="8273618" y="230681"/>
            <a:ext cx="794183" cy="38173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155" y="142429"/>
            <a:ext cx="540941" cy="676176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168764" y="4871562"/>
            <a:ext cx="8496943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словные обозначения:</a:t>
            </a:r>
          </a:p>
          <a:p>
            <a:pPr algn="just"/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-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оны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зломов I порядка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- 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илюйчан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кая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она II 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рядка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-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зоны разломов, выделенные по результатам 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смодешифрирования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-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разломные нарушения, выделенные по геофизическим данным,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-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рабены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илюйско-Мархинской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зоны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-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осточномурбайская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истема кольцевых структур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-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агматические проявления: а) – базитовые трубки взрыва, б) - дайки долеритов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-10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находки алмазов и ИМК: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дельные находки алмазов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 9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ходки ИМК: а) – пиропа, б) –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икроильменита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в) –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хромшпинелида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г) –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хромдиопсида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держание ИМК: а) до 10 знаков на пробу, б) – от 10 до 50 знаков на пробу, в) – более 100 знаков на пробу; г) – со следами </a:t>
            </a:r>
            <a:r>
              <a:rPr lang="ru-RU" sz="14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ипергенных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зменений;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1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4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ерхнемурбайская</a:t>
            </a:r>
            <a:r>
              <a:rPr lang="ru-RU" sz="1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перспективная площадь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5" t="2751" r="8425" b="67850"/>
          <a:stretch/>
        </p:blipFill>
        <p:spPr>
          <a:xfrm>
            <a:off x="437993" y="1001305"/>
            <a:ext cx="8227714" cy="3839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072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Минимализм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1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2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3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4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5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6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7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8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9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20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4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21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22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23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25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26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27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29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28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6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7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8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9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0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Тема19</Template>
  <TotalTime>71375</TotalTime>
  <Words>1196</Words>
  <Application>Microsoft Office PowerPoint</Application>
  <PresentationFormat>Экран (4:3)</PresentationFormat>
  <Paragraphs>105</Paragraphs>
  <Slides>16</Slides>
  <Notes>1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53" baseType="lpstr">
      <vt:lpstr>PMingLiU</vt:lpstr>
      <vt:lpstr>Arial</vt:lpstr>
      <vt:lpstr>Calibri</vt:lpstr>
      <vt:lpstr>Calibri Light</vt:lpstr>
      <vt:lpstr>Futura New Medium Obl</vt:lpstr>
      <vt:lpstr>Tahoma</vt:lpstr>
      <vt:lpstr>Times New Roman</vt:lpstr>
      <vt:lpstr>Wingdings</vt:lpstr>
      <vt:lpstr>Wingdings 3</vt:lpstr>
      <vt:lpstr>Минимализм</vt:lpstr>
      <vt:lpstr>4_EPS_Custom_print</vt:lpstr>
      <vt:lpstr>Специальное оформление</vt:lpstr>
      <vt:lpstr>5_EPS_Custom_print</vt:lpstr>
      <vt:lpstr>6_EPS_Custom_print</vt:lpstr>
      <vt:lpstr>7_EPS_Custom_print</vt:lpstr>
      <vt:lpstr>8_EPS_Custom_print</vt:lpstr>
      <vt:lpstr>9_EPS_Custom_print</vt:lpstr>
      <vt:lpstr>10_EPS_Custom_print</vt:lpstr>
      <vt:lpstr>11_EPS_Custom_print</vt:lpstr>
      <vt:lpstr>12_EPS_Custom_print</vt:lpstr>
      <vt:lpstr>13_EPS_Custom_print</vt:lpstr>
      <vt:lpstr>14_EPS_Custom_print</vt:lpstr>
      <vt:lpstr>15_EPS_Custom_print</vt:lpstr>
      <vt:lpstr>16_EPS_Custom_print</vt:lpstr>
      <vt:lpstr>17_EPS_Custom_print</vt:lpstr>
      <vt:lpstr>18_EPS_Custom_print</vt:lpstr>
      <vt:lpstr>19_EPS_Custom_print</vt:lpstr>
      <vt:lpstr>20_EPS_Custom_print</vt:lpstr>
      <vt:lpstr>21_EPS_Custom_print</vt:lpstr>
      <vt:lpstr>22_EPS_Custom_print</vt:lpstr>
      <vt:lpstr>23_EPS_Custom_print</vt:lpstr>
      <vt:lpstr>25_EPS_Custom_print</vt:lpstr>
      <vt:lpstr>26_EPS_Custom_print</vt:lpstr>
      <vt:lpstr>27_EPS_Custom_print</vt:lpstr>
      <vt:lpstr>29_EPS_Custom_print</vt:lpstr>
      <vt:lpstr>28_EPS_Custom_print</vt:lpstr>
      <vt:lpstr>think-cell Slide</vt:lpstr>
      <vt:lpstr>ПЕРСПЕКТИВЫ КИМБЕРЛИТОНОСНОСТИ ФЛАНГОВ ВИЛЮЙСКО-МАРХИНСКОЙ ЗОНЫ ГЛУБИННЫХ РАЗЛОМОВ   Проценко Е.В., Горев Н.И., Толстов А.В. (НИГП АК «АЛРОСА» (ПАО))  2018 г.</vt:lpstr>
      <vt:lpstr>Структурно-тектоническая схема Вилюйско-Мархинской зоны.</vt:lpstr>
      <vt:lpstr>Схема строения кристаллического фундамента.</vt:lpstr>
      <vt:lpstr>Структурно-тектоническая схема Верхнемурбайской площади.</vt:lpstr>
      <vt:lpstr>Палеотектоническая схема Верхнемурбайской площади.</vt:lpstr>
      <vt:lpstr>Схема магматизма Верхнемурбайской площади.</vt:lpstr>
      <vt:lpstr> Космоструктурная схема участка детализации в пределах Верхнемурбайской площади.</vt:lpstr>
      <vt:lpstr>Схема распространения алмазов и ИМК на Верхнемурбайской площади.</vt:lpstr>
      <vt:lpstr>Схема проявленности прогнозных критериев и признаков на Верхнемурбайской площади.</vt:lpstr>
      <vt:lpstr>Схема строения кровли кристаллического фундамента.</vt:lpstr>
      <vt:lpstr>Структурно-тектоническая схема Юлэгирской площади.</vt:lpstr>
      <vt:lpstr>Схема расположения локальных аэромагнитных аномалий по материалам АМС-10 (БГРЭ).</vt:lpstr>
      <vt:lpstr>Схема распространения алмазов и ИМК на Юлэгирской площади.</vt:lpstr>
      <vt:lpstr>Схема проявленности прогнозных критериев и признаков на  Юлэгирской площади.</vt:lpstr>
      <vt:lpstr>Схема расположения перспективных площадей на флангах Вилюйско-Мархинской зоны.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Вигандт Елена Валерьевна</dc:creator>
  <cp:lastModifiedBy>Проценко Елена Викторовна</cp:lastModifiedBy>
  <cp:revision>4633</cp:revision>
  <cp:lastPrinted>2016-08-12T07:43:04Z</cp:lastPrinted>
  <dcterms:created xsi:type="dcterms:W3CDTF">2014-03-14T13:28:00Z</dcterms:created>
  <dcterms:modified xsi:type="dcterms:W3CDTF">2018-04-11T01:04:50Z</dcterms:modified>
</cp:coreProperties>
</file>